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9.xml" ContentType="application/vnd.openxmlformats-officedocument.presentationml.tags+xml"/>
  <Override PartName="/ppt/notesSlides/notesSlide1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2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3.xml" ContentType="application/vnd.openxmlformats-officedocument.presentationml.notesSlide+xml"/>
  <Override PartName="/ppt/tags/tag67.xml" ContentType="application/vnd.openxmlformats-officedocument.presentationml.tags+xml"/>
  <Override PartName="/ppt/notesSlides/notesSlide4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3214" r:id="rId5"/>
    <p:sldId id="2142532979" r:id="rId6"/>
    <p:sldId id="2142532976" r:id="rId7"/>
    <p:sldId id="2142532977" r:id="rId8"/>
    <p:sldId id="2142532975" r:id="rId9"/>
    <p:sldId id="2142532980" r:id="rId10"/>
    <p:sldId id="2142532973" r:id="rId11"/>
    <p:sldId id="2142532974" r:id="rId12"/>
    <p:sldId id="306" r:id="rId13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033C13B-5730-4681-B370-C71D286C10BC}" v="125" dt="2024-03-26T09:23:01.997"/>
  </p1510:revLst>
</p1510:revInfo>
</file>

<file path=ppt/tableStyles.xml><?xml version="1.0" encoding="utf-8"?>
<a:tblStyleLst xmlns:a="http://schemas.openxmlformats.org/drawingml/2006/main" def="{9DCAF9ED-07DC-4A11-8D7F-57B35C25682E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CAF9ED-07DC-4A11-8D7F-57B35C25682E}" styleName="Střední styl 1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97" autoAdjust="0"/>
    <p:restoredTop sz="94240" autoAdjust="0"/>
  </p:normalViewPr>
  <p:slideViewPr>
    <p:cSldViewPr showGuides="1">
      <p:cViewPr varScale="1">
        <p:scale>
          <a:sx n="81" d="100"/>
          <a:sy n="81" d="100"/>
        </p:scale>
        <p:origin x="614" y="58"/>
      </p:cViewPr>
      <p:guideLst>
        <p:guide orient="horz" pos="210"/>
        <p:guide pos="3840"/>
      </p:guideLst>
    </p:cSldViewPr>
  </p:slideViewPr>
  <p:outlineViewPr>
    <p:cViewPr>
      <p:scale>
        <a:sx n="33" d="100"/>
        <a:sy n="33" d="100"/>
      </p:scale>
      <p:origin x="0" y="-1287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howGuides="1">
      <p:cViewPr varScale="1">
        <p:scale>
          <a:sx n="80" d="100"/>
          <a:sy n="80" d="100"/>
        </p:scale>
        <p:origin x="3066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vel, Ales" userId="90458746-abd6-47aa-b501-72f753e6fc06" providerId="ADAL" clId="{B016B2F7-5743-45C6-8606-BC86FF06B8C6}"/>
    <pc:docChg chg="undo redo custSel addSld delSld modSld sldOrd replTag">
      <pc:chgData name="Havel, Ales" userId="90458746-abd6-47aa-b501-72f753e6fc06" providerId="ADAL" clId="{B016B2F7-5743-45C6-8606-BC86FF06B8C6}" dt="2024-02-29T10:29:47.873" v="5685" actId="20577"/>
      <pc:docMkLst>
        <pc:docMk/>
      </pc:docMkLst>
      <pc:sldChg chg="addSp delSp modSp add mod modNotesTx">
        <pc:chgData name="Havel, Ales" userId="90458746-abd6-47aa-b501-72f753e6fc06" providerId="ADAL" clId="{B016B2F7-5743-45C6-8606-BC86FF06B8C6}" dt="2024-02-29T09:12:06.048" v="5662" actId="20577"/>
        <pc:sldMkLst>
          <pc:docMk/>
          <pc:sldMk cId="1652819287" sldId="276"/>
        </pc:sldMkLst>
        <pc:spChg chg="add del mod modVis">
          <ac:chgData name="Havel, Ales" userId="90458746-abd6-47aa-b501-72f753e6fc06" providerId="ADAL" clId="{B016B2F7-5743-45C6-8606-BC86FF06B8C6}" dt="2024-02-28T18:55:59.873" v="475"/>
          <ac:spMkLst>
            <pc:docMk/>
            <pc:sldMk cId="1652819287" sldId="276"/>
            <ac:spMk id="2" creationId="{A4DECBA9-1D76-35E0-5863-E13D296277BD}"/>
          </ac:spMkLst>
        </pc:spChg>
        <pc:spChg chg="add del mod modVis">
          <ac:chgData name="Havel, Ales" userId="90458746-abd6-47aa-b501-72f753e6fc06" providerId="ADAL" clId="{B016B2F7-5743-45C6-8606-BC86FF06B8C6}" dt="2024-02-28T18:56:00.574" v="516"/>
          <ac:spMkLst>
            <pc:docMk/>
            <pc:sldMk cId="1652819287" sldId="276"/>
            <ac:spMk id="5" creationId="{0823F43B-D57B-9653-5CC2-6E5DB9914FB4}"/>
          </ac:spMkLst>
        </pc:spChg>
        <pc:spChg chg="add del mod modVis">
          <ac:chgData name="Havel, Ales" userId="90458746-abd6-47aa-b501-72f753e6fc06" providerId="ADAL" clId="{B016B2F7-5743-45C6-8606-BC86FF06B8C6}" dt="2024-02-28T18:56:03.124" v="550"/>
          <ac:spMkLst>
            <pc:docMk/>
            <pc:sldMk cId="1652819287" sldId="276"/>
            <ac:spMk id="6" creationId="{EDF2E994-4617-D43B-71CF-2D0CF6B7D7EC}"/>
          </ac:spMkLst>
        </pc:spChg>
        <pc:spChg chg="add del mod modVis">
          <ac:chgData name="Havel, Ales" userId="90458746-abd6-47aa-b501-72f753e6fc06" providerId="ADAL" clId="{B016B2F7-5743-45C6-8606-BC86FF06B8C6}" dt="2024-02-28T18:56:04.353" v="578"/>
          <ac:spMkLst>
            <pc:docMk/>
            <pc:sldMk cId="1652819287" sldId="276"/>
            <ac:spMk id="7" creationId="{5D94925E-179C-266B-F606-679B189D69BB}"/>
          </ac:spMkLst>
        </pc:spChg>
        <pc:spChg chg="mod">
          <ac:chgData name="Havel, Ales" userId="90458746-abd6-47aa-b501-72f753e6fc06" providerId="ADAL" clId="{B016B2F7-5743-45C6-8606-BC86FF06B8C6}" dt="2024-02-28T18:56:25.426" v="595" actId="20577"/>
          <ac:spMkLst>
            <pc:docMk/>
            <pc:sldMk cId="1652819287" sldId="276"/>
            <ac:spMk id="8" creationId="{00000000-0000-0000-0000-000000000000}"/>
          </ac:spMkLst>
        </pc:spChg>
        <pc:spChg chg="mod">
          <ac:chgData name="Havel, Ales" userId="90458746-abd6-47aa-b501-72f753e6fc06" providerId="ADAL" clId="{B016B2F7-5743-45C6-8606-BC86FF06B8C6}" dt="2024-02-28T18:56:04.308" v="554" actId="948"/>
          <ac:spMkLst>
            <pc:docMk/>
            <pc:sldMk cId="1652819287" sldId="276"/>
            <ac:spMk id="31" creationId="{00000000-0000-0000-0000-000000000000}"/>
          </ac:spMkLst>
        </pc:spChg>
        <pc:graphicFrameChg chg="add mod ord modVis replST">
          <ac:chgData name="Havel, Ales" userId="90458746-abd6-47aa-b501-72f753e6fc06" providerId="ADAL" clId="{B016B2F7-5743-45C6-8606-BC86FF06B8C6}" dt="2024-02-28T18:56:04.359" v="580"/>
          <ac:graphicFrameMkLst>
            <pc:docMk/>
            <pc:sldMk cId="1652819287" sldId="276"/>
            <ac:graphicFrameMk id="4" creationId="{ABFCB3B0-3E1B-932F-DAAE-477551E261B8}"/>
          </ac:graphicFrameMkLst>
        </pc:graphicFrameChg>
      </pc:sldChg>
      <pc:sldChg chg="del">
        <pc:chgData name="Havel, Ales" userId="90458746-abd6-47aa-b501-72f753e6fc06" providerId="ADAL" clId="{B016B2F7-5743-45C6-8606-BC86FF06B8C6}" dt="2024-02-28T20:56:30.817" v="3514" actId="47"/>
        <pc:sldMkLst>
          <pc:docMk/>
          <pc:sldMk cId="451271611" sldId="307"/>
        </pc:sldMkLst>
      </pc:sldChg>
      <pc:sldChg chg="ord modNotesTx">
        <pc:chgData name="Havel, Ales" userId="90458746-abd6-47aa-b501-72f753e6fc06" providerId="ADAL" clId="{B016B2F7-5743-45C6-8606-BC86FF06B8C6}" dt="2024-02-29T09:17:41.900" v="5672" actId="20577"/>
        <pc:sldMkLst>
          <pc:docMk/>
          <pc:sldMk cId="2600679964" sldId="350"/>
        </pc:sldMkLst>
      </pc:sldChg>
      <pc:sldChg chg="del">
        <pc:chgData name="Havel, Ales" userId="90458746-abd6-47aa-b501-72f753e6fc06" providerId="ADAL" clId="{B016B2F7-5743-45C6-8606-BC86FF06B8C6}" dt="2024-02-28T20:56:35.710" v="3516" actId="47"/>
        <pc:sldMkLst>
          <pc:docMk/>
          <pc:sldMk cId="4249644855" sldId="561"/>
        </pc:sldMkLst>
      </pc:sldChg>
      <pc:sldChg chg="del">
        <pc:chgData name="Havel, Ales" userId="90458746-abd6-47aa-b501-72f753e6fc06" providerId="ADAL" clId="{B016B2F7-5743-45C6-8606-BC86FF06B8C6}" dt="2024-02-28T18:49:55.591" v="0" actId="47"/>
        <pc:sldMkLst>
          <pc:docMk/>
          <pc:sldMk cId="2410120141" sldId="904"/>
        </pc:sldMkLst>
      </pc:sldChg>
      <pc:sldChg chg="del">
        <pc:chgData name="Havel, Ales" userId="90458746-abd6-47aa-b501-72f753e6fc06" providerId="ADAL" clId="{B016B2F7-5743-45C6-8606-BC86FF06B8C6}" dt="2024-02-28T20:56:40.197" v="3518" actId="47"/>
        <pc:sldMkLst>
          <pc:docMk/>
          <pc:sldMk cId="2757589718" sldId="1014"/>
        </pc:sldMkLst>
      </pc:sldChg>
      <pc:sldChg chg="del">
        <pc:chgData name="Havel, Ales" userId="90458746-abd6-47aa-b501-72f753e6fc06" providerId="ADAL" clId="{B016B2F7-5743-45C6-8606-BC86FF06B8C6}" dt="2024-02-28T20:56:37.786" v="3517" actId="47"/>
        <pc:sldMkLst>
          <pc:docMk/>
          <pc:sldMk cId="3952412302" sldId="1015"/>
        </pc:sldMkLst>
      </pc:sldChg>
      <pc:sldChg chg="addSp delSp modSp add mod modNotesTx">
        <pc:chgData name="Havel, Ales" userId="90458746-abd6-47aa-b501-72f753e6fc06" providerId="ADAL" clId="{B016B2F7-5743-45C6-8606-BC86FF06B8C6}" dt="2024-02-29T09:12:02.027" v="5660" actId="20577"/>
        <pc:sldMkLst>
          <pc:docMk/>
          <pc:sldMk cId="2648859295" sldId="1133"/>
        </pc:sldMkLst>
        <pc:spChg chg="mod">
          <ac:chgData name="Havel, Ales" userId="90458746-abd6-47aa-b501-72f753e6fc06" providerId="ADAL" clId="{B016B2F7-5743-45C6-8606-BC86FF06B8C6}" dt="2024-02-28T18:55:46.135" v="417" actId="948"/>
          <ac:spMkLst>
            <pc:docMk/>
            <pc:sldMk cId="2648859295" sldId="1133"/>
            <ac:spMk id="6" creationId="{ACFD7040-BBA5-4994-830C-3A8659540585}"/>
          </ac:spMkLst>
        </pc:spChg>
        <pc:spChg chg="del mod">
          <ac:chgData name="Havel, Ales" userId="90458746-abd6-47aa-b501-72f753e6fc06" providerId="ADAL" clId="{B016B2F7-5743-45C6-8606-BC86FF06B8C6}" dt="2024-02-28T18:55:07.369" v="24" actId="478"/>
          <ac:spMkLst>
            <pc:docMk/>
            <pc:sldMk cId="2648859295" sldId="1133"/>
            <ac:spMk id="7" creationId="{286B98FA-CC43-6530-049C-AA96F3948277}"/>
          </ac:spMkLst>
        </pc:spChg>
        <pc:spChg chg="del">
          <ac:chgData name="Havel, Ales" userId="90458746-abd6-47aa-b501-72f753e6fc06" providerId="ADAL" clId="{B016B2F7-5743-45C6-8606-BC86FF06B8C6}" dt="2024-02-28T18:54:02.832" v="16" actId="478"/>
          <ac:spMkLst>
            <pc:docMk/>
            <pc:sldMk cId="2648859295" sldId="1133"/>
            <ac:spMk id="9" creationId="{73897E6A-71BE-42A9-BAB2-B1B04C134CB3}"/>
          </ac:spMkLst>
        </pc:spChg>
        <pc:spChg chg="add del mod">
          <ac:chgData name="Havel, Ales" userId="90458746-abd6-47aa-b501-72f753e6fc06" providerId="ADAL" clId="{B016B2F7-5743-45C6-8606-BC86FF06B8C6}" dt="2024-02-28T18:54:05.306" v="17" actId="478"/>
          <ac:spMkLst>
            <pc:docMk/>
            <pc:sldMk cId="2648859295" sldId="1133"/>
            <ac:spMk id="14" creationId="{7A208AB1-27EC-2A41-FD2E-1D1127174C5F}"/>
          </ac:spMkLst>
        </pc:spChg>
        <pc:spChg chg="add del mod modVis">
          <ac:chgData name="Havel, Ales" userId="90458746-abd6-47aa-b501-72f753e6fc06" providerId="ADAL" clId="{B016B2F7-5743-45C6-8606-BC86FF06B8C6}" dt="2024-02-28T18:55:22.979" v="72"/>
          <ac:spMkLst>
            <pc:docMk/>
            <pc:sldMk cId="2648859295" sldId="1133"/>
            <ac:spMk id="15" creationId="{82640AB8-20E6-7374-B404-DCD64D827288}"/>
          </ac:spMkLst>
        </pc:spChg>
        <pc:spChg chg="add del mod modVis">
          <ac:chgData name="Havel, Ales" userId="90458746-abd6-47aa-b501-72f753e6fc06" providerId="ADAL" clId="{B016B2F7-5743-45C6-8606-BC86FF06B8C6}" dt="2024-02-28T18:55:27.133" v="117"/>
          <ac:spMkLst>
            <pc:docMk/>
            <pc:sldMk cId="2648859295" sldId="1133"/>
            <ac:spMk id="16" creationId="{9BE0BC62-6FF5-9CA2-C49B-702B6BB73641}"/>
          </ac:spMkLst>
        </pc:spChg>
        <pc:spChg chg="add del mod modVis">
          <ac:chgData name="Havel, Ales" userId="90458746-abd6-47aa-b501-72f753e6fc06" providerId="ADAL" clId="{B016B2F7-5743-45C6-8606-BC86FF06B8C6}" dt="2024-02-28T18:55:29.028" v="148"/>
          <ac:spMkLst>
            <pc:docMk/>
            <pc:sldMk cId="2648859295" sldId="1133"/>
            <ac:spMk id="17" creationId="{325548A0-860C-EC45-7671-5149C53B1EE7}"/>
          </ac:spMkLst>
        </pc:spChg>
        <pc:spChg chg="add del mod modVis">
          <ac:chgData name="Havel, Ales" userId="90458746-abd6-47aa-b501-72f753e6fc06" providerId="ADAL" clId="{B016B2F7-5743-45C6-8606-BC86FF06B8C6}" dt="2024-02-28T18:55:29.602" v="176"/>
          <ac:spMkLst>
            <pc:docMk/>
            <pc:sldMk cId="2648859295" sldId="1133"/>
            <ac:spMk id="18" creationId="{704D5C8E-1AF9-BFE5-67A1-06E2343410EB}"/>
          </ac:spMkLst>
        </pc:spChg>
        <pc:spChg chg="add del mod modVis">
          <ac:chgData name="Havel, Ales" userId="90458746-abd6-47aa-b501-72f753e6fc06" providerId="ADAL" clId="{B016B2F7-5743-45C6-8606-BC86FF06B8C6}" dt="2024-02-28T18:55:30.521" v="208"/>
          <ac:spMkLst>
            <pc:docMk/>
            <pc:sldMk cId="2648859295" sldId="1133"/>
            <ac:spMk id="19" creationId="{3CF6D270-1A07-47B3-697F-8E75BFEFF43A}"/>
          </ac:spMkLst>
        </pc:spChg>
        <pc:spChg chg="add del mod modVis">
          <ac:chgData name="Havel, Ales" userId="90458746-abd6-47aa-b501-72f753e6fc06" providerId="ADAL" clId="{B016B2F7-5743-45C6-8606-BC86FF06B8C6}" dt="2024-02-28T18:55:34.065" v="250"/>
          <ac:spMkLst>
            <pc:docMk/>
            <pc:sldMk cId="2648859295" sldId="1133"/>
            <ac:spMk id="20" creationId="{BF0DEA1D-9FA0-2178-D3BD-3D2970D5DA5A}"/>
          </ac:spMkLst>
        </pc:spChg>
        <pc:spChg chg="add del mod modVis">
          <ac:chgData name="Havel, Ales" userId="90458746-abd6-47aa-b501-72f753e6fc06" providerId="ADAL" clId="{B016B2F7-5743-45C6-8606-BC86FF06B8C6}" dt="2024-02-28T18:55:37.966" v="292"/>
          <ac:spMkLst>
            <pc:docMk/>
            <pc:sldMk cId="2648859295" sldId="1133"/>
            <ac:spMk id="21" creationId="{7E07FF58-B986-0950-986C-20400656AFB2}"/>
          </ac:spMkLst>
        </pc:spChg>
        <pc:spChg chg="add del mod modVis">
          <ac:chgData name="Havel, Ales" userId="90458746-abd6-47aa-b501-72f753e6fc06" providerId="ADAL" clId="{B016B2F7-5743-45C6-8606-BC86FF06B8C6}" dt="2024-02-28T18:55:39.796" v="326"/>
          <ac:spMkLst>
            <pc:docMk/>
            <pc:sldMk cId="2648859295" sldId="1133"/>
            <ac:spMk id="23" creationId="{35423CAE-5D2E-41C0-58F1-9B64122982F0}"/>
          </ac:spMkLst>
        </pc:spChg>
        <pc:spChg chg="add del mod modVis">
          <ac:chgData name="Havel, Ales" userId="90458746-abd6-47aa-b501-72f753e6fc06" providerId="ADAL" clId="{B016B2F7-5743-45C6-8606-BC86FF06B8C6}" dt="2024-02-28T18:55:41.194" v="357"/>
          <ac:spMkLst>
            <pc:docMk/>
            <pc:sldMk cId="2648859295" sldId="1133"/>
            <ac:spMk id="24" creationId="{36A034DE-548F-8C47-0152-E3EA4B72A0EF}"/>
          </ac:spMkLst>
        </pc:spChg>
        <pc:spChg chg="add del mod modVis">
          <ac:chgData name="Havel, Ales" userId="90458746-abd6-47aa-b501-72f753e6fc06" providerId="ADAL" clId="{B016B2F7-5743-45C6-8606-BC86FF06B8C6}" dt="2024-02-28T18:55:43.536" v="385"/>
          <ac:spMkLst>
            <pc:docMk/>
            <pc:sldMk cId="2648859295" sldId="1133"/>
            <ac:spMk id="25" creationId="{D480B25A-D516-EB99-6B08-2575467B0CE6}"/>
          </ac:spMkLst>
        </pc:spChg>
        <pc:spChg chg="add del mod modVis">
          <ac:chgData name="Havel, Ales" userId="90458746-abd6-47aa-b501-72f753e6fc06" providerId="ADAL" clId="{B016B2F7-5743-45C6-8606-BC86FF06B8C6}" dt="2024-02-28T18:55:45.202" v="413"/>
          <ac:spMkLst>
            <pc:docMk/>
            <pc:sldMk cId="2648859295" sldId="1133"/>
            <ac:spMk id="26" creationId="{B8FFD684-D7EE-69B6-001B-57778888EC4D}"/>
          </ac:spMkLst>
        </pc:spChg>
        <pc:spChg chg="add del mod modVis">
          <ac:chgData name="Havel, Ales" userId="90458746-abd6-47aa-b501-72f753e6fc06" providerId="ADAL" clId="{B016B2F7-5743-45C6-8606-BC86FF06B8C6}" dt="2024-02-28T18:55:46.203" v="441"/>
          <ac:spMkLst>
            <pc:docMk/>
            <pc:sldMk cId="2648859295" sldId="1133"/>
            <ac:spMk id="28" creationId="{3804D2BA-2372-28B7-8951-B6528FDA4E6F}"/>
          </ac:spMkLst>
        </pc:spChg>
        <pc:spChg chg="mod">
          <ac:chgData name="Havel, Ales" userId="90458746-abd6-47aa-b501-72f753e6fc06" providerId="ADAL" clId="{B016B2F7-5743-45C6-8606-BC86FF06B8C6}" dt="2024-02-28T18:54:46.012" v="21" actId="207"/>
          <ac:spMkLst>
            <pc:docMk/>
            <pc:sldMk cId="2648859295" sldId="1133"/>
            <ac:spMk id="39" creationId="{833C55EB-3D89-174B-AF3C-C76A3FD7CB5B}"/>
          </ac:spMkLst>
        </pc:spChg>
        <pc:spChg chg="mod">
          <ac:chgData name="Havel, Ales" userId="90458746-abd6-47aa-b501-72f753e6fc06" providerId="ADAL" clId="{B016B2F7-5743-45C6-8606-BC86FF06B8C6}" dt="2024-02-28T18:54:55.635" v="22" actId="207"/>
          <ac:spMkLst>
            <pc:docMk/>
            <pc:sldMk cId="2648859295" sldId="1133"/>
            <ac:spMk id="47" creationId="{1E0662F0-8C35-D34A-8D0E-901EBDC7CB12}"/>
          </ac:spMkLst>
        </pc:spChg>
        <pc:graphicFrameChg chg="mod">
          <ac:chgData name="Havel, Ales" userId="90458746-abd6-47aa-b501-72f753e6fc06" providerId="ADAL" clId="{B016B2F7-5743-45C6-8606-BC86FF06B8C6}" dt="2024-02-28T18:55:46.209" v="443"/>
          <ac:graphicFrameMkLst>
            <pc:docMk/>
            <pc:sldMk cId="2648859295" sldId="1133"/>
            <ac:graphicFrameMk id="3" creationId="{387C2E5F-1CA2-5DD5-E747-67F9B2ED7E59}"/>
          </ac:graphicFrameMkLst>
        </pc:graphicFrameChg>
      </pc:sldChg>
      <pc:sldChg chg="ord modNotesTx">
        <pc:chgData name="Havel, Ales" userId="90458746-abd6-47aa-b501-72f753e6fc06" providerId="ADAL" clId="{B016B2F7-5743-45C6-8606-BC86FF06B8C6}" dt="2024-02-29T09:12:11.948" v="5663" actId="20577"/>
        <pc:sldMkLst>
          <pc:docMk/>
          <pc:sldMk cId="3855815996" sldId="1204"/>
        </pc:sldMkLst>
      </pc:sldChg>
      <pc:sldChg chg="modSp mod">
        <pc:chgData name="Havel, Ales" userId="90458746-abd6-47aa-b501-72f753e6fc06" providerId="ADAL" clId="{B016B2F7-5743-45C6-8606-BC86FF06B8C6}" dt="2024-02-29T10:29:47.873" v="5685" actId="20577"/>
        <pc:sldMkLst>
          <pc:docMk/>
          <pc:sldMk cId="3420453801" sldId="3214"/>
        </pc:sldMkLst>
        <pc:spChg chg="mod">
          <ac:chgData name="Havel, Ales" userId="90458746-abd6-47aa-b501-72f753e6fc06" providerId="ADAL" clId="{B016B2F7-5743-45C6-8606-BC86FF06B8C6}" dt="2024-02-29T10:29:47.873" v="5685" actId="20577"/>
          <ac:spMkLst>
            <pc:docMk/>
            <pc:sldMk cId="3420453801" sldId="3214"/>
            <ac:spMk id="4" creationId="{00000000-0000-0000-0000-000000000000}"/>
          </ac:spMkLst>
        </pc:spChg>
      </pc:sldChg>
      <pc:sldChg chg="addSp delSp modSp add mod modNotesTx">
        <pc:chgData name="Havel, Ales" userId="90458746-abd6-47aa-b501-72f753e6fc06" providerId="ADAL" clId="{B016B2F7-5743-45C6-8606-BC86FF06B8C6}" dt="2024-02-29T10:27:49.862" v="5683" actId="20577"/>
        <pc:sldMkLst>
          <pc:docMk/>
          <pc:sldMk cId="1230206025" sldId="7375"/>
        </pc:sldMkLst>
        <pc:spChg chg="add del mod modVis">
          <ac:chgData name="Havel, Ales" userId="90458746-abd6-47aa-b501-72f753e6fc06" providerId="ADAL" clId="{B016B2F7-5743-45C6-8606-BC86FF06B8C6}" dt="2024-02-28T18:58:57.443" v="667"/>
          <ac:spMkLst>
            <pc:docMk/>
            <pc:sldMk cId="1230206025" sldId="7375"/>
            <ac:spMk id="2" creationId="{A9AB6F85-70C8-BF6F-98C3-E8035C20DA3D}"/>
          </ac:spMkLst>
        </pc:spChg>
        <pc:spChg chg="mod">
          <ac:chgData name="Havel, Ales" userId="90458746-abd6-47aa-b501-72f753e6fc06" providerId="ADAL" clId="{B016B2F7-5743-45C6-8606-BC86FF06B8C6}" dt="2024-02-28T18:59:14.854" v="922" actId="948"/>
          <ac:spMkLst>
            <pc:docMk/>
            <pc:sldMk cId="1230206025" sldId="7375"/>
            <ac:spMk id="4" creationId="{28DAF5FA-47E3-43A3-BC26-C243E08825DB}"/>
          </ac:spMkLst>
        </pc:spChg>
        <pc:spChg chg="add del mod">
          <ac:chgData name="Havel, Ales" userId="90458746-abd6-47aa-b501-72f753e6fc06" providerId="ADAL" clId="{B016B2F7-5743-45C6-8606-BC86FF06B8C6}" dt="2024-02-28T18:59:34.975" v="999" actId="20577"/>
          <ac:spMkLst>
            <pc:docMk/>
            <pc:sldMk cId="1230206025" sldId="7375"/>
            <ac:spMk id="9" creationId="{2433EE44-7276-4D02-9844-6710EA43AA94}"/>
          </ac:spMkLst>
        </pc:spChg>
        <pc:spChg chg="add del mod modVis">
          <ac:chgData name="Havel, Ales" userId="90458746-abd6-47aa-b501-72f753e6fc06" providerId="ADAL" clId="{B016B2F7-5743-45C6-8606-BC86FF06B8C6}" dt="2024-02-28T18:59:00.785" v="703"/>
          <ac:spMkLst>
            <pc:docMk/>
            <pc:sldMk cId="1230206025" sldId="7375"/>
            <ac:spMk id="10" creationId="{7C950D8A-0A03-7491-A468-0FB7C433164E}"/>
          </ac:spMkLst>
        </pc:spChg>
        <pc:spChg chg="add del mod modVis">
          <ac:chgData name="Havel, Ales" userId="90458746-abd6-47aa-b501-72f753e6fc06" providerId="ADAL" clId="{B016B2F7-5743-45C6-8606-BC86FF06B8C6}" dt="2024-02-28T18:59:02.845" v="741"/>
          <ac:spMkLst>
            <pc:docMk/>
            <pc:sldMk cId="1230206025" sldId="7375"/>
            <ac:spMk id="14" creationId="{F6ED0876-5744-4E48-516A-79E8E4F66F67}"/>
          </ac:spMkLst>
        </pc:spChg>
        <pc:spChg chg="mod">
          <ac:chgData name="Havel, Ales" userId="90458746-abd6-47aa-b501-72f753e6fc06" providerId="ADAL" clId="{B016B2F7-5743-45C6-8606-BC86FF06B8C6}" dt="2024-02-28T19:02:02.316" v="1229" actId="20577"/>
          <ac:spMkLst>
            <pc:docMk/>
            <pc:sldMk cId="1230206025" sldId="7375"/>
            <ac:spMk id="16" creationId="{70301596-6994-499C-A4EB-499ECCEE4C2A}"/>
          </ac:spMkLst>
        </pc:spChg>
        <pc:spChg chg="add del mod modVis">
          <ac:chgData name="Havel, Ales" userId="90458746-abd6-47aa-b501-72f753e6fc06" providerId="ADAL" clId="{B016B2F7-5743-45C6-8606-BC86FF06B8C6}" dt="2024-02-28T18:59:04.878" v="776"/>
          <ac:spMkLst>
            <pc:docMk/>
            <pc:sldMk cId="1230206025" sldId="7375"/>
            <ac:spMk id="103" creationId="{DB7C851C-CBE7-DF84-BF14-A3C689B0C18B}"/>
          </ac:spMkLst>
        </pc:spChg>
        <pc:spChg chg="mod">
          <ac:chgData name="Havel, Ales" userId="90458746-abd6-47aa-b501-72f753e6fc06" providerId="ADAL" clId="{B016B2F7-5743-45C6-8606-BC86FF06B8C6}" dt="2024-02-28T19:00:12.258" v="1050" actId="20577"/>
          <ac:spMkLst>
            <pc:docMk/>
            <pc:sldMk cId="1230206025" sldId="7375"/>
            <ac:spMk id="104" creationId="{A42C6FCB-B077-42F8-A2C3-321CF8BD135F}"/>
          </ac:spMkLst>
        </pc:spChg>
        <pc:spChg chg="mod">
          <ac:chgData name="Havel, Ales" userId="90458746-abd6-47aa-b501-72f753e6fc06" providerId="ADAL" clId="{B016B2F7-5743-45C6-8606-BC86FF06B8C6}" dt="2024-02-28T19:00:29.784" v="1078" actId="20577"/>
          <ac:spMkLst>
            <pc:docMk/>
            <pc:sldMk cId="1230206025" sldId="7375"/>
            <ac:spMk id="105" creationId="{F9E74FF5-CD1E-4F3D-B47A-06785D6BB184}"/>
          </ac:spMkLst>
        </pc:spChg>
        <pc:spChg chg="mod">
          <ac:chgData name="Havel, Ales" userId="90458746-abd6-47aa-b501-72f753e6fc06" providerId="ADAL" clId="{B016B2F7-5743-45C6-8606-BC86FF06B8C6}" dt="2024-02-28T19:01:06.351" v="1185" actId="20577"/>
          <ac:spMkLst>
            <pc:docMk/>
            <pc:sldMk cId="1230206025" sldId="7375"/>
            <ac:spMk id="106" creationId="{CD9E2BC4-A43B-4DDF-B8B9-4BED35EABEDA}"/>
          </ac:spMkLst>
        </pc:spChg>
        <pc:spChg chg="mod">
          <ac:chgData name="Havel, Ales" userId="90458746-abd6-47aa-b501-72f753e6fc06" providerId="ADAL" clId="{B016B2F7-5743-45C6-8606-BC86FF06B8C6}" dt="2024-02-28T19:01:27.143" v="1204" actId="1076"/>
          <ac:spMkLst>
            <pc:docMk/>
            <pc:sldMk cId="1230206025" sldId="7375"/>
            <ac:spMk id="107" creationId="{FD11F46E-F844-41A1-A7CC-9990200389F7}"/>
          </ac:spMkLst>
        </pc:spChg>
        <pc:spChg chg="add del mod modVis">
          <ac:chgData name="Havel, Ales" userId="90458746-abd6-47aa-b501-72f753e6fc06" providerId="ADAL" clId="{B016B2F7-5743-45C6-8606-BC86FF06B8C6}" dt="2024-02-28T18:59:06.235" v="808"/>
          <ac:spMkLst>
            <pc:docMk/>
            <pc:sldMk cId="1230206025" sldId="7375"/>
            <ac:spMk id="108" creationId="{1DCE546A-F47F-DC62-AA2D-21B35C4C4E06}"/>
          </ac:spMkLst>
        </pc:spChg>
        <pc:spChg chg="add del mod modVis">
          <ac:chgData name="Havel, Ales" userId="90458746-abd6-47aa-b501-72f753e6fc06" providerId="ADAL" clId="{B016B2F7-5743-45C6-8606-BC86FF06B8C6}" dt="2024-02-28T18:59:08.089" v="841"/>
          <ac:spMkLst>
            <pc:docMk/>
            <pc:sldMk cId="1230206025" sldId="7375"/>
            <ac:spMk id="109" creationId="{AD9EB94E-F51A-6DE3-EB68-742B4CF1F3B1}"/>
          </ac:spMkLst>
        </pc:spChg>
        <pc:spChg chg="add del mod modVis">
          <ac:chgData name="Havel, Ales" userId="90458746-abd6-47aa-b501-72f753e6fc06" providerId="ADAL" clId="{B016B2F7-5743-45C6-8606-BC86FF06B8C6}" dt="2024-02-28T18:59:11.059" v="877"/>
          <ac:spMkLst>
            <pc:docMk/>
            <pc:sldMk cId="1230206025" sldId="7375"/>
            <ac:spMk id="110" creationId="{54A5BB5D-CD17-2BBF-F739-5F9B4CCDBC1C}"/>
          </ac:spMkLst>
        </pc:spChg>
        <pc:spChg chg="add del mod modVis">
          <ac:chgData name="Havel, Ales" userId="90458746-abd6-47aa-b501-72f753e6fc06" providerId="ADAL" clId="{B016B2F7-5743-45C6-8606-BC86FF06B8C6}" dt="2024-02-28T18:59:13.854" v="916"/>
          <ac:spMkLst>
            <pc:docMk/>
            <pc:sldMk cId="1230206025" sldId="7375"/>
            <ac:spMk id="111" creationId="{92682484-558A-E395-DC57-7EC7C5712AC9}"/>
          </ac:spMkLst>
        </pc:spChg>
        <pc:spChg chg="add del mod modVis">
          <ac:chgData name="Havel, Ales" userId="90458746-abd6-47aa-b501-72f753e6fc06" providerId="ADAL" clId="{B016B2F7-5743-45C6-8606-BC86FF06B8C6}" dt="2024-02-28T18:59:14.957" v="946"/>
          <ac:spMkLst>
            <pc:docMk/>
            <pc:sldMk cId="1230206025" sldId="7375"/>
            <ac:spMk id="112" creationId="{21B8449F-4BC0-59C7-96FA-C9C8D9AE65D6}"/>
          </ac:spMkLst>
        </pc:spChg>
        <pc:grpChg chg="mod">
          <ac:chgData name="Havel, Ales" userId="90458746-abd6-47aa-b501-72f753e6fc06" providerId="ADAL" clId="{B016B2F7-5743-45C6-8606-BC86FF06B8C6}" dt="2024-02-28T19:01:35.084" v="1205" actId="1076"/>
          <ac:grpSpMkLst>
            <pc:docMk/>
            <pc:sldMk cId="1230206025" sldId="7375"/>
            <ac:grpSpMk id="17" creationId="{A1995746-4880-4EED-B328-3A5377A22900}"/>
          </ac:grpSpMkLst>
        </pc:grpChg>
        <pc:graphicFrameChg chg="mod">
          <ac:chgData name="Havel, Ales" userId="90458746-abd6-47aa-b501-72f753e6fc06" providerId="ADAL" clId="{B016B2F7-5743-45C6-8606-BC86FF06B8C6}" dt="2024-02-28T18:59:14.965" v="948"/>
          <ac:graphicFrameMkLst>
            <pc:docMk/>
            <pc:sldMk cId="1230206025" sldId="7375"/>
            <ac:graphicFrameMk id="12" creationId="{57815DEF-0520-4CDE-A70C-5CA7754034D5}"/>
          </ac:graphicFrameMkLst>
        </pc:graphicFrameChg>
        <pc:picChg chg="mod">
          <ac:chgData name="Havel, Ales" userId="90458746-abd6-47aa-b501-72f753e6fc06" providerId="ADAL" clId="{B016B2F7-5743-45C6-8606-BC86FF06B8C6}" dt="2024-02-28T19:01:47.301" v="1206" actId="1076"/>
          <ac:picMkLst>
            <pc:docMk/>
            <pc:sldMk cId="1230206025" sldId="7375"/>
            <ac:picMk id="98" creationId="{60519107-90BB-446D-A2E8-07F8F0FB84A2}"/>
          </ac:picMkLst>
        </pc:picChg>
        <pc:picChg chg="mod">
          <ac:chgData name="Havel, Ales" userId="90458746-abd6-47aa-b501-72f753e6fc06" providerId="ADAL" clId="{B016B2F7-5743-45C6-8606-BC86FF06B8C6}" dt="2024-02-28T19:01:47.301" v="1206" actId="1076"/>
          <ac:picMkLst>
            <pc:docMk/>
            <pc:sldMk cId="1230206025" sldId="7375"/>
            <ac:picMk id="99" creationId="{F7F0C2E0-12AC-41EC-80A3-0F67C13BAB9D}"/>
          </ac:picMkLst>
        </pc:picChg>
        <pc:picChg chg="mod">
          <ac:chgData name="Havel, Ales" userId="90458746-abd6-47aa-b501-72f753e6fc06" providerId="ADAL" clId="{B016B2F7-5743-45C6-8606-BC86FF06B8C6}" dt="2024-02-28T19:01:47.301" v="1206" actId="1076"/>
          <ac:picMkLst>
            <pc:docMk/>
            <pc:sldMk cId="1230206025" sldId="7375"/>
            <ac:picMk id="100" creationId="{34B1D372-B6BC-439C-8CAD-76B9CB83841C}"/>
          </ac:picMkLst>
        </pc:picChg>
        <pc:picChg chg="mod">
          <ac:chgData name="Havel, Ales" userId="90458746-abd6-47aa-b501-72f753e6fc06" providerId="ADAL" clId="{B016B2F7-5743-45C6-8606-BC86FF06B8C6}" dt="2024-02-28T19:01:47.301" v="1206" actId="1076"/>
          <ac:picMkLst>
            <pc:docMk/>
            <pc:sldMk cId="1230206025" sldId="7375"/>
            <ac:picMk id="101" creationId="{518EBE10-F7C0-4920-BA6A-A381F6B1F29F}"/>
          </ac:picMkLst>
        </pc:picChg>
        <pc:picChg chg="mod">
          <ac:chgData name="Havel, Ales" userId="90458746-abd6-47aa-b501-72f753e6fc06" providerId="ADAL" clId="{B016B2F7-5743-45C6-8606-BC86FF06B8C6}" dt="2024-02-28T19:01:47.301" v="1206" actId="1076"/>
          <ac:picMkLst>
            <pc:docMk/>
            <pc:sldMk cId="1230206025" sldId="7375"/>
            <ac:picMk id="102" creationId="{D19B4994-EB43-466A-B06A-9E9D32F03C8E}"/>
          </ac:picMkLst>
        </pc:picChg>
      </pc:sldChg>
      <pc:sldChg chg="del">
        <pc:chgData name="Havel, Ales" userId="90458746-abd6-47aa-b501-72f753e6fc06" providerId="ADAL" clId="{B016B2F7-5743-45C6-8606-BC86FF06B8C6}" dt="2024-02-28T20:56:46.032" v="3523" actId="47"/>
        <pc:sldMkLst>
          <pc:docMk/>
          <pc:sldMk cId="3776747323" sldId="2076138258"/>
        </pc:sldMkLst>
      </pc:sldChg>
      <pc:sldChg chg="del">
        <pc:chgData name="Havel, Ales" userId="90458746-abd6-47aa-b501-72f753e6fc06" providerId="ADAL" clId="{B016B2F7-5743-45C6-8606-BC86FF06B8C6}" dt="2024-02-28T20:56:44.436" v="3521" actId="47"/>
        <pc:sldMkLst>
          <pc:docMk/>
          <pc:sldMk cId="1527721594" sldId="2076138261"/>
        </pc:sldMkLst>
      </pc:sldChg>
      <pc:sldChg chg="del">
        <pc:chgData name="Havel, Ales" userId="90458746-abd6-47aa-b501-72f753e6fc06" providerId="ADAL" clId="{B016B2F7-5743-45C6-8606-BC86FF06B8C6}" dt="2024-02-28T20:56:32.780" v="3515" actId="47"/>
        <pc:sldMkLst>
          <pc:docMk/>
          <pc:sldMk cId="3102873236" sldId="2142532958"/>
        </pc:sldMkLst>
      </pc:sldChg>
      <pc:sldChg chg="del">
        <pc:chgData name="Havel, Ales" userId="90458746-abd6-47aa-b501-72f753e6fc06" providerId="ADAL" clId="{B016B2F7-5743-45C6-8606-BC86FF06B8C6}" dt="2024-02-28T20:56:42.113" v="3519" actId="47"/>
        <pc:sldMkLst>
          <pc:docMk/>
          <pc:sldMk cId="3837482461" sldId="2142532959"/>
        </pc:sldMkLst>
      </pc:sldChg>
      <pc:sldChg chg="del">
        <pc:chgData name="Havel, Ales" userId="90458746-abd6-47aa-b501-72f753e6fc06" providerId="ADAL" clId="{B016B2F7-5743-45C6-8606-BC86FF06B8C6}" dt="2024-02-28T20:56:46.894" v="3524" actId="47"/>
        <pc:sldMkLst>
          <pc:docMk/>
          <pc:sldMk cId="4181540978" sldId="2142532960"/>
        </pc:sldMkLst>
      </pc:sldChg>
      <pc:sldChg chg="del">
        <pc:chgData name="Havel, Ales" userId="90458746-abd6-47aa-b501-72f753e6fc06" providerId="ADAL" clId="{B016B2F7-5743-45C6-8606-BC86FF06B8C6}" dt="2024-02-28T20:56:48.326" v="3526" actId="47"/>
        <pc:sldMkLst>
          <pc:docMk/>
          <pc:sldMk cId="3572482811" sldId="2142532961"/>
        </pc:sldMkLst>
      </pc:sldChg>
      <pc:sldChg chg="del">
        <pc:chgData name="Havel, Ales" userId="90458746-abd6-47aa-b501-72f753e6fc06" providerId="ADAL" clId="{B016B2F7-5743-45C6-8606-BC86FF06B8C6}" dt="2024-02-28T20:56:51.603" v="3530" actId="47"/>
        <pc:sldMkLst>
          <pc:docMk/>
          <pc:sldMk cId="2013988379" sldId="2142532962"/>
        </pc:sldMkLst>
      </pc:sldChg>
      <pc:sldChg chg="del">
        <pc:chgData name="Havel, Ales" userId="90458746-abd6-47aa-b501-72f753e6fc06" providerId="ADAL" clId="{B016B2F7-5743-45C6-8606-BC86FF06B8C6}" dt="2024-02-28T20:56:52.529" v="3531" actId="47"/>
        <pc:sldMkLst>
          <pc:docMk/>
          <pc:sldMk cId="965635708" sldId="2142532963"/>
        </pc:sldMkLst>
      </pc:sldChg>
      <pc:sldChg chg="del">
        <pc:chgData name="Havel, Ales" userId="90458746-abd6-47aa-b501-72f753e6fc06" providerId="ADAL" clId="{B016B2F7-5743-45C6-8606-BC86FF06B8C6}" dt="2024-02-28T20:56:53.275" v="3532" actId="47"/>
        <pc:sldMkLst>
          <pc:docMk/>
          <pc:sldMk cId="3898864256" sldId="2142532964"/>
        </pc:sldMkLst>
      </pc:sldChg>
      <pc:sldChg chg="addSp delSp modSp mod ord modNotesTx">
        <pc:chgData name="Havel, Ales" userId="90458746-abd6-47aa-b501-72f753e6fc06" providerId="ADAL" clId="{B016B2F7-5743-45C6-8606-BC86FF06B8C6}" dt="2024-02-29T09:14:11.485" v="5669" actId="20577"/>
        <pc:sldMkLst>
          <pc:docMk/>
          <pc:sldMk cId="3869609718" sldId="2142532965"/>
        </pc:sldMkLst>
        <pc:spChg chg="mod">
          <ac:chgData name="Havel, Ales" userId="90458746-abd6-47aa-b501-72f753e6fc06" providerId="ADAL" clId="{B016B2F7-5743-45C6-8606-BC86FF06B8C6}" dt="2024-02-28T20:09:04.588" v="2611" actId="14100"/>
          <ac:spMkLst>
            <pc:docMk/>
            <pc:sldMk cId="3869609718" sldId="2142532965"/>
            <ac:spMk id="4" creationId="{961F8045-DDDB-7BFE-93CC-2D1E7BE46CE3}"/>
          </ac:spMkLst>
        </pc:spChg>
        <pc:spChg chg="add del mod modVis">
          <ac:chgData name="Havel, Ales" userId="90458746-abd6-47aa-b501-72f753e6fc06" providerId="ADAL" clId="{B016B2F7-5743-45C6-8606-BC86FF06B8C6}" dt="2024-02-28T19:02:42.818" v="1255"/>
          <ac:spMkLst>
            <pc:docMk/>
            <pc:sldMk cId="3869609718" sldId="2142532965"/>
            <ac:spMk id="5" creationId="{C6C09037-D22E-C7F2-44C9-9D8D39B2CF5A}"/>
          </ac:spMkLst>
        </pc:spChg>
        <pc:spChg chg="mod">
          <ac:chgData name="Havel, Ales" userId="90458746-abd6-47aa-b501-72f753e6fc06" providerId="ADAL" clId="{B016B2F7-5743-45C6-8606-BC86FF06B8C6}" dt="2024-02-28T20:50:05.011" v="3470" actId="948"/>
          <ac:spMkLst>
            <pc:docMk/>
            <pc:sldMk cId="3869609718" sldId="2142532965"/>
            <ac:spMk id="6" creationId="{91457546-7385-C6B1-4E4A-DAF7257209A0}"/>
          </ac:spMkLst>
        </pc:spChg>
        <pc:spChg chg="add del mod modVis">
          <ac:chgData name="Havel, Ales" userId="90458746-abd6-47aa-b501-72f753e6fc06" providerId="ADAL" clId="{B016B2F7-5743-45C6-8606-BC86FF06B8C6}" dt="2024-02-28T19:02:45.058" v="1283"/>
          <ac:spMkLst>
            <pc:docMk/>
            <pc:sldMk cId="3869609718" sldId="2142532965"/>
            <ac:spMk id="9" creationId="{6DA4A277-A8B3-6EEE-9BFB-7B54FD163CC1}"/>
          </ac:spMkLst>
        </pc:spChg>
        <pc:spChg chg="add del mod modVis">
          <ac:chgData name="Havel, Ales" userId="90458746-abd6-47aa-b501-72f753e6fc06" providerId="ADAL" clId="{B016B2F7-5743-45C6-8606-BC86FF06B8C6}" dt="2024-02-28T19:02:56.305" v="1325"/>
          <ac:spMkLst>
            <pc:docMk/>
            <pc:sldMk cId="3869609718" sldId="2142532965"/>
            <ac:spMk id="11" creationId="{ECB229F9-0AC6-123D-4888-0F17B2A55CAE}"/>
          </ac:spMkLst>
        </pc:spChg>
        <pc:spChg chg="add del mod modVis">
          <ac:chgData name="Havel, Ales" userId="90458746-abd6-47aa-b501-72f753e6fc06" providerId="ADAL" clId="{B016B2F7-5743-45C6-8606-BC86FF06B8C6}" dt="2024-02-28T19:02:57.576" v="1356"/>
          <ac:spMkLst>
            <pc:docMk/>
            <pc:sldMk cId="3869609718" sldId="2142532965"/>
            <ac:spMk id="12" creationId="{83C65F91-B42E-218A-249A-B908A20DC39E}"/>
          </ac:spMkLst>
        </pc:spChg>
        <pc:spChg chg="add del mod modVis">
          <ac:chgData name="Havel, Ales" userId="90458746-abd6-47aa-b501-72f753e6fc06" providerId="ADAL" clId="{B016B2F7-5743-45C6-8606-BC86FF06B8C6}" dt="2024-02-28T19:03:00.105" v="1392"/>
          <ac:spMkLst>
            <pc:docMk/>
            <pc:sldMk cId="3869609718" sldId="2142532965"/>
            <ac:spMk id="13" creationId="{64BDA70B-214B-28A5-3092-94C2CE3CF9CE}"/>
          </ac:spMkLst>
        </pc:spChg>
        <pc:spChg chg="add del mod modVis">
          <ac:chgData name="Havel, Ales" userId="90458746-abd6-47aa-b501-72f753e6fc06" providerId="ADAL" clId="{B016B2F7-5743-45C6-8606-BC86FF06B8C6}" dt="2024-02-28T19:03:01.946" v="1425"/>
          <ac:spMkLst>
            <pc:docMk/>
            <pc:sldMk cId="3869609718" sldId="2142532965"/>
            <ac:spMk id="14" creationId="{B779A8F3-6B99-A0B1-2DE8-A5B1245C10D8}"/>
          </ac:spMkLst>
        </pc:spChg>
        <pc:spChg chg="add del mod modVis">
          <ac:chgData name="Havel, Ales" userId="90458746-abd6-47aa-b501-72f753e6fc06" providerId="ADAL" clId="{B016B2F7-5743-45C6-8606-BC86FF06B8C6}" dt="2024-02-28T19:03:03.964" v="1459"/>
          <ac:spMkLst>
            <pc:docMk/>
            <pc:sldMk cId="3869609718" sldId="2142532965"/>
            <ac:spMk id="15" creationId="{00512F6E-17D0-2352-E8B3-9D6D749C1993}"/>
          </ac:spMkLst>
        </pc:spChg>
        <pc:spChg chg="add del mod modVis">
          <ac:chgData name="Havel, Ales" userId="90458746-abd6-47aa-b501-72f753e6fc06" providerId="ADAL" clId="{B016B2F7-5743-45C6-8606-BC86FF06B8C6}" dt="2024-02-28T19:03:12.281" v="1497"/>
          <ac:spMkLst>
            <pc:docMk/>
            <pc:sldMk cId="3869609718" sldId="2142532965"/>
            <ac:spMk id="16" creationId="{06A5DA8B-EDC5-0477-78BB-7C8BF34119E2}"/>
          </ac:spMkLst>
        </pc:spChg>
        <pc:spChg chg="add del mod modVis">
          <ac:chgData name="Havel, Ales" userId="90458746-abd6-47aa-b501-72f753e6fc06" providerId="ADAL" clId="{B016B2F7-5743-45C6-8606-BC86FF06B8C6}" dt="2024-02-28T19:03:12.870" v="1525"/>
          <ac:spMkLst>
            <pc:docMk/>
            <pc:sldMk cId="3869609718" sldId="2142532965"/>
            <ac:spMk id="17" creationId="{93D150BF-D517-3C58-5E1B-4E3437D1D228}"/>
          </ac:spMkLst>
        </pc:spChg>
        <pc:spChg chg="add del mod modVis">
          <ac:chgData name="Havel, Ales" userId="90458746-abd6-47aa-b501-72f753e6fc06" providerId="ADAL" clId="{B016B2F7-5743-45C6-8606-BC86FF06B8C6}" dt="2024-02-28T19:03:13.915" v="1554"/>
          <ac:spMkLst>
            <pc:docMk/>
            <pc:sldMk cId="3869609718" sldId="2142532965"/>
            <ac:spMk id="18" creationId="{ECA12DDE-AE8C-FE0D-067C-D7C52944E3D1}"/>
          </ac:spMkLst>
        </pc:spChg>
        <pc:spChg chg="add del mod modVis">
          <ac:chgData name="Havel, Ales" userId="90458746-abd6-47aa-b501-72f753e6fc06" providerId="ADAL" clId="{B016B2F7-5743-45C6-8606-BC86FF06B8C6}" dt="2024-02-28T19:03:22.658" v="1589"/>
          <ac:spMkLst>
            <pc:docMk/>
            <pc:sldMk cId="3869609718" sldId="2142532965"/>
            <ac:spMk id="19" creationId="{14D8F726-81AA-7690-E21C-31EEC7375C3C}"/>
          </ac:spMkLst>
        </pc:spChg>
        <pc:spChg chg="add del mod modVis">
          <ac:chgData name="Havel, Ales" userId="90458746-abd6-47aa-b501-72f753e6fc06" providerId="ADAL" clId="{B016B2F7-5743-45C6-8606-BC86FF06B8C6}" dt="2024-02-28T19:03:26.476" v="1622"/>
          <ac:spMkLst>
            <pc:docMk/>
            <pc:sldMk cId="3869609718" sldId="2142532965"/>
            <ac:spMk id="20" creationId="{8F6A169D-32CE-87D5-8DF2-6505756074E5}"/>
          </ac:spMkLst>
        </pc:spChg>
        <pc:spChg chg="add del mod modVis">
          <ac:chgData name="Havel, Ales" userId="90458746-abd6-47aa-b501-72f753e6fc06" providerId="ADAL" clId="{B016B2F7-5743-45C6-8606-BC86FF06B8C6}" dt="2024-02-28T19:03:29.476" v="1658"/>
          <ac:spMkLst>
            <pc:docMk/>
            <pc:sldMk cId="3869609718" sldId="2142532965"/>
            <ac:spMk id="21" creationId="{D3248306-F4F7-2EC3-2DDA-AFC6732D1D95}"/>
          </ac:spMkLst>
        </pc:spChg>
        <pc:spChg chg="add mod">
          <ac:chgData name="Havel, Ales" userId="90458746-abd6-47aa-b501-72f753e6fc06" providerId="ADAL" clId="{B016B2F7-5743-45C6-8606-BC86FF06B8C6}" dt="2024-02-28T20:53:25.205" v="3510" actId="1076"/>
          <ac:spMkLst>
            <pc:docMk/>
            <pc:sldMk cId="3869609718" sldId="2142532965"/>
            <ac:spMk id="22" creationId="{CEFEA20C-9355-7C95-E3E5-4A0A96BDB727}"/>
          </ac:spMkLst>
        </pc:spChg>
        <pc:spChg chg="add mod">
          <ac:chgData name="Havel, Ales" userId="90458746-abd6-47aa-b501-72f753e6fc06" providerId="ADAL" clId="{B016B2F7-5743-45C6-8606-BC86FF06B8C6}" dt="2024-02-28T21:03:17.950" v="3604" actId="14100"/>
          <ac:spMkLst>
            <pc:docMk/>
            <pc:sldMk cId="3869609718" sldId="2142532965"/>
            <ac:spMk id="23" creationId="{58B023EE-536E-D299-EFD6-6010E2AABCEB}"/>
          </ac:spMkLst>
        </pc:spChg>
        <pc:spChg chg="add mod">
          <ac:chgData name="Havel, Ales" userId="90458746-abd6-47aa-b501-72f753e6fc06" providerId="ADAL" clId="{B016B2F7-5743-45C6-8606-BC86FF06B8C6}" dt="2024-02-28T21:05:01.286" v="3658" actId="1076"/>
          <ac:spMkLst>
            <pc:docMk/>
            <pc:sldMk cId="3869609718" sldId="2142532965"/>
            <ac:spMk id="24" creationId="{7D1ABBA5-87A7-9273-9140-0B67306B2F0D}"/>
          </ac:spMkLst>
        </pc:spChg>
        <pc:spChg chg="add del mod modVis">
          <ac:chgData name="Havel, Ales" userId="90458746-abd6-47aa-b501-72f753e6fc06" providerId="ADAL" clId="{B016B2F7-5743-45C6-8606-BC86FF06B8C6}" dt="2024-02-28T20:50:02.267" v="3436"/>
          <ac:spMkLst>
            <pc:docMk/>
            <pc:sldMk cId="3869609718" sldId="2142532965"/>
            <ac:spMk id="25" creationId="{7344AB7D-ABEF-8E21-0043-A5F3B7CCAB41}"/>
          </ac:spMkLst>
        </pc:spChg>
        <pc:spChg chg="add del mod modVis">
          <ac:chgData name="Havel, Ales" userId="90458746-abd6-47aa-b501-72f753e6fc06" providerId="ADAL" clId="{B016B2F7-5743-45C6-8606-BC86FF06B8C6}" dt="2024-02-28T20:50:04.079" v="3466"/>
          <ac:spMkLst>
            <pc:docMk/>
            <pc:sldMk cId="3869609718" sldId="2142532965"/>
            <ac:spMk id="26" creationId="{27B720BA-1251-CCEC-BF0E-1D9CDC42AA7A}"/>
          </ac:spMkLst>
        </pc:spChg>
        <pc:spChg chg="add del mod modVis">
          <ac:chgData name="Havel, Ales" userId="90458746-abd6-47aa-b501-72f753e6fc06" providerId="ADAL" clId="{B016B2F7-5743-45C6-8606-BC86FF06B8C6}" dt="2024-02-28T20:50:05.043" v="3494"/>
          <ac:spMkLst>
            <pc:docMk/>
            <pc:sldMk cId="3869609718" sldId="2142532965"/>
            <ac:spMk id="27" creationId="{17416662-4474-0EA4-B5AE-F6650877ADD7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9" creationId="{3D22B12A-473D-3681-BC09-48D7D12EE3F5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30" creationId="{F2514E49-05AF-3D8B-4448-A37B51430392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31" creationId="{CD13F9FE-5A0F-D75E-794F-26C4EB7B3A08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32" creationId="{24DBCAFC-8832-8E01-EB68-6433F97D830D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33" creationId="{206F3184-9F89-DD40-A569-EC85918E3FDA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34" creationId="{C69E9923-4D42-4339-DAFC-9DF9BD4BE6EC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35" creationId="{18E79FFE-D1CB-1198-3F05-9521650C7DDB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36" creationId="{8F2DAC56-BE4F-E71F-BEE8-7E98105E0079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37" creationId="{6761000E-BC3A-9DE8-6394-1A434F50FEDC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38" creationId="{632605B7-5CA6-D26C-464B-4F4AD33DBC4E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39" creationId="{D75513D5-0C3F-C071-B4C3-00442EB915EA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40" creationId="{11551FFB-8871-6FCC-01E1-E821AB41387C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41" creationId="{1EAFC71A-8559-246C-8213-79CED089181C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42" creationId="{CEACD7BF-6DF2-59E7-76A3-010071B89221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43" creationId="{63EF76EC-7AB1-3480-DA48-A69D8618DE29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44" creationId="{A0BB2A5F-7B50-D754-8B53-8464940D6ABA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45" creationId="{C8EDC0FA-AB89-8135-CF4E-F584E46D3D98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46" creationId="{6A848035-F9A3-E6FC-7B2B-13105A667FF1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47" creationId="{15D459D7-FBFB-267C-76E8-A00DA4449A40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48" creationId="{14F4E085-88A9-9E3E-188C-466B04AE1297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49" creationId="{D8C2BA4C-D5DC-32F7-3A51-37C5FC73CDAF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50" creationId="{FA7FB6C9-343E-17AD-5241-75629DAF1FE3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51" creationId="{518F2320-759A-E655-9455-32387FC06277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52" creationId="{FD58D4A6-1814-7CA2-6B51-17691C0B850A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53" creationId="{174035E2-3BF8-EA4D-668C-7977463E3BDB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54" creationId="{AF620E39-8184-4BAC-0359-FF7E70E3A20B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55" creationId="{D4862AAC-C5C6-2BB4-DB2B-4D8C3B236261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56" creationId="{517F6E23-2EA1-0057-8F27-9B4FB054EB8E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57" creationId="{836D3712-A5BD-B403-36FA-2C75B00BC9A3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58" creationId="{45E7607D-02A2-B61E-AA15-BF57BA250658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59" creationId="{B54263BD-F9DC-18BC-3A65-E092B35C1445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60" creationId="{51EF14C2-0DDD-FE36-CB67-150C8242D625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61" creationId="{A758C6DB-E92B-D779-BCC2-3EB2A09DD1B9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62" creationId="{F5FF0C43-29D4-FFF6-B88E-8388162E9AE6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63" creationId="{8D4D9DEF-21B1-198C-B23B-E92C638824E7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64" creationId="{BC4AA041-C232-2C27-BC35-1F1035058FEA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65" creationId="{7F3A9B59-5F8F-34AF-ECC3-11D958E37C45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66" creationId="{B8975585-8091-5FFA-1978-FF84FFF934BA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67" creationId="{30FC8CB7-36B8-0D08-8094-BF0E33AF4862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68" creationId="{CC8CD2F7-1B4B-F45A-E0E5-A9953F575EC0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69" creationId="{933090B8-5220-280B-21E0-CC8368988ECE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70" creationId="{6600D2CB-C39E-0B6A-840A-C72174846470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71" creationId="{A744EE36-8B92-5EE6-F23B-4730297CC7CA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72" creationId="{8A2A6802-0496-AADE-55F0-EBF2CB5321B1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73" creationId="{95845A39-C38D-26E9-08C7-03043C3B4011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74" creationId="{BE2617BC-0AFB-8E79-11C9-3CA765D42DBC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75" creationId="{F28EE885-A0C1-CFCF-2737-AF116399A1E8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76" creationId="{CC22D4FE-A4F2-C597-1A55-E8F84B96CD2C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77" creationId="{4A157D82-761E-69A0-0C89-DBAC0B3B8961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78" creationId="{D899BB77-B43B-FFBC-460D-F209A8D1BAB1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79" creationId="{F82693EB-0475-49A4-ECEA-82EDC457B15A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80" creationId="{29CA4E91-B1D1-83DD-3B9F-142F6BBEAACE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81" creationId="{FA3737C0-C094-2EAD-EAA4-3B4D802775CB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82" creationId="{55761F4B-882E-7AF8-CAA4-AA8BC18802D9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83" creationId="{8AFA0A8B-7FEB-B7EA-11F9-2362D462266A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84" creationId="{F0A38B8B-760E-596D-2D22-CBC662D5B499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85" creationId="{D953CAE8-E346-0760-8CD2-1F201CC5974D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86" creationId="{B7736CE6-8819-6523-0ED4-800104014F8C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87" creationId="{E5475BFC-4B29-5601-254B-EC6D2BA01BA1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88" creationId="{9B90F846-BE08-1C07-A218-EB0BA37BE09D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89" creationId="{213D8009-98EF-DCBE-24EB-AEFA4B386EBA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90" creationId="{E133B93F-B288-0D0C-52A2-4435D53059B6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91" creationId="{ECC6B78F-0639-22D7-5FCC-56F8261BDD35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92" creationId="{BF69D734-2433-40E5-F0DD-056C08E727F7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93" creationId="{0950C586-B1BB-89B5-7C55-F0D4DEC58189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94" creationId="{673E1D00-1756-A537-77B6-6271536C0E46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95" creationId="{38C49776-C65D-B067-D86B-E1E5239C3FE9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96" creationId="{385B761E-1CC7-A0CD-1CDC-5DF9EFF6866B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97" creationId="{D1AB2E15-718F-A0E0-EC5C-BE1275465344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98" creationId="{599DCB92-A7FB-B093-689C-44545412CC59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99" creationId="{7B40B847-74FB-15BD-A2A2-DEA8D9BDD467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00" creationId="{8F30CB02-62ED-E989-7898-78A88A90246E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01" creationId="{B1EAECB2-6849-28B3-9A9F-20C11BB77800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02" creationId="{CA36AD54-56D0-8850-EB17-B68A2CC5B7CD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03" creationId="{F12EC1C0-7570-D3B1-7E2D-FA97107A1D1A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04" creationId="{A084AC97-24CA-63C4-6B9B-BB253CC8BFAF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05" creationId="{34440C50-DE87-1BB9-9B4F-AC0422D1DD5D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07" creationId="{9280CF48-E71F-C2AD-A025-DAC1A28D0841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08" creationId="{C65DFEEB-6956-6D79-A1E5-FED24E61AEFC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09" creationId="{619A1740-22B4-D1E1-B550-7C4C335BD477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10" creationId="{C18C7801-4CC9-107E-8653-029CE935BC89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11" creationId="{B75C46FB-FDFE-2AB4-A340-1B8C585C608C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12" creationId="{4644BDEC-2336-0FB9-FF49-4619D0845DD3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13" creationId="{BD222BB7-6748-6B71-FFED-9FF0809D45C1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14" creationId="{09C53AB4-1E5E-2326-396A-668CEA404822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15" creationId="{2EC9F707-3C75-98AC-135D-1E0089F28CC7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16" creationId="{B825510B-D134-23E5-6FE7-B7FA56D2E174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17" creationId="{9366DE89-9ED3-26B4-7BB4-A0D7B12AD5F4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18" creationId="{8BCAC7E8-EEC9-5EBB-D856-0AB32F980828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19" creationId="{340993D0-565E-F3E9-0F4D-E1E7CD7EE00B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20" creationId="{AD2C821F-4850-2C71-DA1E-25C5C99E26BA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21" creationId="{56136268-07D2-285A-6C0D-7C7C002C63D3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22" creationId="{626D2F2A-6D44-9766-82B2-DC3AEDBEA788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23" creationId="{C3175D51-D480-F6B6-0165-8E4D31B3849A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24" creationId="{8CEEDEF5-38C6-E0CB-C29F-BE311BB5475D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25" creationId="{35B76A67-DF23-C25A-9076-29C2456FBC01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26" creationId="{1D58096F-FC5D-1B7A-87CE-E3D9E8C1B5F2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27" creationId="{63F2FAE0-0276-E93B-85ED-75C44F83C420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28" creationId="{20B7001E-A111-98F4-37D3-50BBA0E2C93A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29" creationId="{F6ED1163-A585-0CE2-8EC4-E6A53819AB43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30" creationId="{D3D3BEDF-4A32-F944-1609-2F615C74DA16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31" creationId="{39164BC6-CE3C-5A70-5CF5-7CCDD7308F6A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32" creationId="{423A7A65-29D5-E61E-8479-3BB3BDE0C46D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33" creationId="{A144FC33-405A-9E6E-7539-1132923DCB87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34" creationId="{EE21A6A5-74A8-A8B0-3C15-B8BCE84EA2C2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35" creationId="{1DDEFE8F-55E7-F1F8-4C07-8C400D1C18F2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36" creationId="{45A92FD0-435D-0928-5EDF-57AA97002B47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37" creationId="{42414893-EEE5-BB24-8751-348C36BC52BB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38" creationId="{E7819C3D-63B6-BA55-5E47-F937A1F3A45F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39" creationId="{CD68C516-45E1-D60C-247C-BE13C979F93B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40" creationId="{C2C61E72-DE84-4C91-0CCB-795774DC7DBB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41" creationId="{7A0DE1C2-CA13-A877-41B6-53DF974C06AD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42" creationId="{3829E042-D353-D40A-BE16-4D4905778147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43" creationId="{6A6FB8E9-2063-C36E-08E2-620A3CD32970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44" creationId="{831B228B-61C7-799F-10CC-55530D29D8DE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45" creationId="{F2D89187-29E6-5B90-0D90-E989713BE264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46" creationId="{52A8F9C4-02C9-F26A-BB65-6B07D8924998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47" creationId="{4EBE9B72-66A9-D11F-B722-24726CADB5E6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48" creationId="{1A9CA5DE-3278-DCCB-7152-B28B71BD21BD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49" creationId="{F26CC425-1D95-B731-FD70-592F3B901C2D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50" creationId="{82DBDCDE-9F6B-7375-4C70-445C4ABD5E54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51" creationId="{FE1DC2F0-7C85-4D81-A6F7-2A5893E05732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52" creationId="{EE21D2AC-07E6-CCF7-0B9A-953895E0A699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53" creationId="{F4D25D30-2FFB-C329-B7DB-C2DC8C0D0D3E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54" creationId="{FD0F47EB-FE1C-FD57-4604-0353C0F10A15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55" creationId="{7B89353A-FC26-BACB-44DE-A0EDAD338FB6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56" creationId="{178E44A3-01D3-298C-438E-D77F241E1013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57" creationId="{B22C386D-096D-3251-EE9F-E3BC43EE929A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58" creationId="{3077D75D-439D-B325-BEE8-FB4FF15FE956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59" creationId="{4FEBD46B-EAB0-B312-5C59-285837B22C47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60" creationId="{7A0EE94E-E4DF-18F0-9784-79185DA20CCF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61" creationId="{9ED8BEDA-7ACD-18E9-F2C1-160A84DAA38F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62" creationId="{93A06BB8-C8B8-5AA0-7590-25D34705B0EF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63" creationId="{905E5588-0498-105E-8266-15DBD3276E64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64" creationId="{819723AB-3FB3-8E60-D16A-587736329592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65" creationId="{9D78B95E-0251-087E-A7B9-4B91CF454F41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66" creationId="{2A66D2C4-F033-B157-2639-A6BD7A6625C8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67" creationId="{B45FC850-87F8-AD1A-6309-8E42D3CF481F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68" creationId="{30BC358E-E09B-F1B1-B6CE-3754A0158715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69" creationId="{A03D5C38-E0C7-8889-DAD8-E7E3682E54E7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70" creationId="{83B3992E-E1CC-A07E-6F18-92AF00B2DADF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71" creationId="{3310BF67-B7D5-6062-9C10-F0AD125CB2DE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72" creationId="{9F1D42C4-7CE4-4F7F-C2AA-28AD4FF175F2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73" creationId="{A23D9512-884E-BA55-7090-DE8FE476E67E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74" creationId="{6002FA3D-A3AB-3938-C221-3E5EA935902A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75" creationId="{DD2839BE-5934-17A0-4FF6-BE9408D2C1C2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76" creationId="{BCD46AC5-573B-A189-9D43-4A20D9286389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77" creationId="{79218454-C68A-A913-B26B-E9D14C9E011E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78" creationId="{E315E446-86BE-6067-32DB-EEA7E5D07094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79" creationId="{B9D2E66B-EB2E-F5B7-A88C-C392D227DFF2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80" creationId="{E94E4806-5566-C9DA-EBB4-C636411AFB47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81" creationId="{567F923D-F3E2-9396-5AEE-EEF7E8BF29E6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82" creationId="{9BF94156-EF77-6B63-738C-55EF63FCD68E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83" creationId="{78B6681A-164D-CBA7-1A44-FA81E5ACFAC7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85" creationId="{3C99A56B-9FA2-9FF1-A7F5-67B1B93CCA3C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86" creationId="{FD69B197-679B-1BFC-0ED8-70A2547E1313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87" creationId="{9102B676-0BCE-BAB3-187C-1E51B4789807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88" creationId="{DF6E7AFD-1E12-F37B-E9C1-A5DD03FB0EAC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89" creationId="{206FB333-2F7F-220B-165E-015A63903C70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90" creationId="{3C2AEA86-0511-7751-760D-D9949FA12E3F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91" creationId="{177FD39B-4E6B-29B8-485F-2B0F451E1EF9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92" creationId="{9450FDAE-C863-522E-FAB2-077175F42D99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93" creationId="{6F01F36D-9FCA-9EE9-079C-3D86F76E8F09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94" creationId="{D354F279-44CC-0D43-38F8-D1A9F9340353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95" creationId="{99C218FB-B1B1-03F8-7257-D3F6BF5C2CC7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96" creationId="{FAF21823-7153-23C2-C5B9-1D0FD0224405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97" creationId="{2E8EEA6E-4882-AD11-5BA4-A3C188B42368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98" creationId="{3A90A4BA-E2CE-1E54-158C-CA022D616745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199" creationId="{57698D61-9AE8-2FDE-2426-FCD9B6B5E630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00" creationId="{0C9F615B-0403-1E69-1B20-908CEDAE6B0E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01" creationId="{09F46260-DBA6-6C98-E597-CC68311426DA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02" creationId="{B38C7164-831B-5324-99F1-B8EBBEEAE9AA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03" creationId="{44166B2D-B8FE-3780-0C71-181AA007847D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04" creationId="{CF5695FC-B3A5-F7CD-E352-552C71D42380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05" creationId="{A814091E-0116-A7B8-B15F-88F37C153FC3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06" creationId="{C35FBB42-23E7-159F-13FE-FD9186BFA57C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07" creationId="{8A1035AE-AE49-02FF-EB2F-FBA146D08F4F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08" creationId="{7502E29D-6EC4-B6EC-695A-5BA15E817B5E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09" creationId="{0D2ABD56-5D0C-707E-CF0E-78E0F8FA9054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10" creationId="{090A1E64-3653-B84D-DE8D-48E3FD2197C3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11" creationId="{11DB8E50-37EE-4855-42BF-F3C89A4B8B1C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12" creationId="{7D60BC4A-6676-48FE-B915-8B36404361D9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13" creationId="{1648AF0B-F45E-803D-E67D-CE8505F5609E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14" creationId="{275C5BED-4C1E-9B12-8496-BB825A66686F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15" creationId="{EA5D7BF4-FB4C-A756-02FA-4D6C8A69C9D8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16" creationId="{6C471841-6307-2407-4914-C3D1AF8B54BB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17" creationId="{18F8B757-3266-50CB-3AE0-912C3DC17BBA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18" creationId="{4CCAA5DB-4628-9D39-350C-C51351B83CCC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19" creationId="{C162B948-5570-96FF-6058-490BB504A7CB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20" creationId="{51DF7DE6-C9DA-C2D8-431B-9F0524555BE5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21" creationId="{824168C6-C7EB-50E4-9A74-68623B920A49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22" creationId="{FB6EF67A-569B-BFA4-203B-E7EEEDB5E14E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23" creationId="{13128340-E4CD-4364-792D-0C0E13710A30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24" creationId="{BF416A51-E9F5-0DDB-75C7-3954AE06B315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25" creationId="{71C9332E-F1FD-84F6-1B99-74D8DC51B962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26" creationId="{FDD2522D-AB40-CA79-93C9-81D17F2828DE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27" creationId="{43D29C97-B8F9-C414-6DFC-F8B9EC7A94EB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28" creationId="{65B85B6C-771B-E05A-C8F8-9B41EFD13BBE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29" creationId="{28C485E5-C479-07D7-198C-93A20E808D67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30" creationId="{FF1EDED5-BE31-DB95-BFD7-476719B1928B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31" creationId="{4F070D0D-3BD6-FADF-287A-AAEFF091D4DB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32" creationId="{9481B348-1307-DE38-C718-9484D1749B96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33" creationId="{4199ECBF-98A0-8D43-AF39-536A532D9402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34" creationId="{73F012E2-A5F0-4CBF-5C05-8D28A0ABD45D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35" creationId="{BC483F28-C5DC-A0A8-1B98-16896400D42F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36" creationId="{286F39C9-BB36-A231-9E25-2BD82B9A202C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37" creationId="{45186CD4-5931-0E22-2A28-ED58E403514F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38" creationId="{5E284500-681F-6804-43C4-2DC5DCD8F79E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39" creationId="{2861D951-7652-217E-EBDA-9EBF643E5B06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40" creationId="{F96485FF-F1BD-3AFA-CC73-B3E4DF48063B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41" creationId="{A3813120-1DD6-1F52-BB59-FDDCCE5AED07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42" creationId="{8B00F9F6-E2B8-89C4-BD33-4FA498A7B660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43" creationId="{BFA3499E-BBCA-1890-2DC1-8F0A40544B9D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44" creationId="{9D7AB6CC-71E1-6B03-DAA2-9C400BDE32F6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45" creationId="{3140AC42-BC26-5AB5-EB10-F5A028F9489A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46" creationId="{86093C1E-6204-90DB-D0C3-E8CB50C7E581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47" creationId="{8E795BAB-5987-486C-EB04-0A7802A64DC9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48" creationId="{79C71325-74A9-F12E-CE2A-509A7FF8B8CD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49" creationId="{0C689BC1-3456-B3C7-9373-F16A86DCDFA9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50" creationId="{A1DD1131-3439-08E9-82C9-1F645C50957D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51" creationId="{A2C7FDEA-A758-CE81-21B9-01807D966776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52" creationId="{86365D17-C693-9122-824F-6A970F4DDA0E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53" creationId="{E6D81C97-7B2A-5835-7516-14240C26AFA8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54" creationId="{A44D6AE6-26AA-F2FC-9BA5-29FF973E97A8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55" creationId="{301C8B4E-C290-F6E6-211E-E6F3054547DD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56" creationId="{B4E3EBF6-4E7D-5DC8-8206-40B2567FFF39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57" creationId="{750C5A35-F795-2453-D8EB-D8D9207FA3A3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58" creationId="{40CAD2DC-6AFD-6267-EED9-C2FDC1933370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59" creationId="{138C64EE-B172-8CD1-77A7-CA606C145C3A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60" creationId="{B8D9F4F9-F2E2-99E9-1C7B-18D37E7EE7F5}"/>
          </ac:spMkLst>
        </pc:spChg>
        <pc:spChg chg="mod">
          <ac:chgData name="Havel, Ales" userId="90458746-abd6-47aa-b501-72f753e6fc06" providerId="ADAL" clId="{B016B2F7-5743-45C6-8606-BC86FF06B8C6}" dt="2024-02-28T20:51:26.706" v="3497"/>
          <ac:spMkLst>
            <pc:docMk/>
            <pc:sldMk cId="3869609718" sldId="2142532965"/>
            <ac:spMk id="261" creationId="{A8FD698E-374E-9D8B-770C-F08FCFDCF9F9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63" creationId="{1262F886-DE9F-67F9-C56A-DCCA924B11EE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64" creationId="{7C0C2EFA-CE2F-D563-124C-4551C5162860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65" creationId="{D963730C-9202-FDCF-42D9-F97C38B534D2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66" creationId="{39F95B1A-6254-B163-31F2-89A988B4FA29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67" creationId="{60071B86-C742-18FD-E71C-B7DB1DBFF6CE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68" creationId="{8A0C0AF0-89FB-9EDB-960B-998D07FB9297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69" creationId="{5B6FFEEB-A9D4-C35C-4586-B8082A172786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70" creationId="{A3710FCB-316B-B57F-E9CC-8028E1ACBA62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71" creationId="{45E646BB-A533-6756-C79E-755E8E410BD8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72" creationId="{947DD54F-9C40-4026-9E70-B47B3AC1AF14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73" creationId="{131F5092-736D-6F01-E8CE-DC59D7881472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74" creationId="{0498E554-238A-3940-9C91-2598E191F0F2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75" creationId="{EFCD6F90-2BD9-D6E2-9E73-9A73ACD0AC2D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76" creationId="{8E08F74C-AF31-B75E-08B7-295DAE24D4C5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77" creationId="{95DE7547-A674-0530-BE7A-9E500E4E9D38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78" creationId="{BB12BDF9-8C72-280F-D073-3E05AC8EEE05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79" creationId="{84E6E2A2-F9D9-9F97-2899-127C79B5317C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80" creationId="{EB8F12FE-3224-09D7-92F0-95ECB794652B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81" creationId="{A878E2BD-0C4F-2AA2-E910-87B09490608E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82" creationId="{5598F198-A90B-E643-C070-5CCAA819E93C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83" creationId="{FCDEBB81-7410-3BBE-7E09-3594DADEF568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84" creationId="{987BF85A-AC90-9600-F0C1-2001D4A5C94A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85" creationId="{685194B2-C0C6-9CB7-5F6B-62AFC21161C9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86" creationId="{F6697DC3-27E4-B787-CF45-9964D340C024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87" creationId="{0DCE5787-BA54-2D1A-B3DD-DAE56D9D8B76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88" creationId="{F9777F34-75DB-DC9D-C23E-EF34BD97F5DD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89" creationId="{AB8C48CD-1B4E-9D46-5184-FB0A68633A3F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90" creationId="{5B360E1E-844B-A894-32CE-257071D274F0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91" creationId="{B5F11719-3695-B2C9-8A68-1EE61916B133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92" creationId="{94F6D833-9448-D814-464E-40F18696E032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93" creationId="{43759F99-5B1B-A9B8-3725-A7049B697532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94" creationId="{59FF0ECD-3686-99F9-33A9-97606E11D9DF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95" creationId="{98714F12-F439-8D62-1DDE-7DB145934E4A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96" creationId="{04EBD8CA-19B2-20B3-E918-6E7779278A20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97" creationId="{6FEC5BD6-88E4-0F9F-6ED4-EAA7F9FBA69F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98" creationId="{1F7FF8EC-845C-494F-B8A1-22789A002270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299" creationId="{D1657EDD-CAD1-DECC-767B-5B77935C8E93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300" creationId="{96B93D0A-C924-2A75-5C71-A34A8A4D6A7F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301" creationId="{53E58D96-7B52-6767-4403-780C43B0C7CC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302" creationId="{12F6D75C-0ACD-505B-4AE4-7DBF6F51AF60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303" creationId="{4103B29C-B0A6-3A0E-AFAD-DCCF56AF0043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304" creationId="{AFB0C72A-20E6-E300-E9B9-6990A38EC5B8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305" creationId="{76AE6D00-5802-1B36-4CA0-A183777CD9FF}"/>
          </ac:spMkLst>
        </pc:spChg>
        <pc:spChg chg="mod">
          <ac:chgData name="Havel, Ales" userId="90458746-abd6-47aa-b501-72f753e6fc06" providerId="ADAL" clId="{B016B2F7-5743-45C6-8606-BC86FF06B8C6}" dt="2024-02-28T20:57:35.569" v="3533"/>
          <ac:spMkLst>
            <pc:docMk/>
            <pc:sldMk cId="3869609718" sldId="2142532965"/>
            <ac:spMk id="306" creationId="{D5C11649-EF75-9E6E-1B1F-14A0428BB9FF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08" creationId="{C5367F07-692F-94DA-5685-30FD2E8A07B7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09" creationId="{D11D8F47-A38A-457E-AEEC-58C375DF80B4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10" creationId="{8ABB1EBD-22B0-E8C8-29AD-DA99E37802A7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11" creationId="{121E0E06-D587-5C2A-98C2-C26017340550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12" creationId="{5D9E67C8-2CC1-883E-A3D0-20F0F4C7D16F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13" creationId="{087991F7-C113-73E3-ADF5-FD3F696A472E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14" creationId="{36E96127-858A-81EB-187F-9579C7AA2D72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15" creationId="{383DE247-6C3B-B355-6C5B-43700101E49E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16" creationId="{ABFD8659-4A33-BECD-1D76-1416256B2065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17" creationId="{DE1A8668-5B3F-E34D-98E1-652D38979400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18" creationId="{FF622299-E975-01D4-6695-A843FE4B107D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19" creationId="{D1BF0FA5-21B1-C208-3554-1ABDEA11D578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20" creationId="{C101E97A-629A-2A52-1BEE-31932BADDB95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21" creationId="{D9A928E2-69F6-4C51-C2D7-D66E646454B9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22" creationId="{A383122A-A4B6-891D-90E5-BE582EB87AD2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23" creationId="{33C52D0C-898E-D7D8-0EAF-3EFBBD788AEA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24" creationId="{38B17B4C-CBCF-BC99-B653-926DFA9E946A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25" creationId="{B436E6A0-A31B-1CE4-CCFF-DB61FBC41FC1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26" creationId="{6E6D90CF-9FA9-0643-F8D9-34465ABFF09D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27" creationId="{1463A300-EDB3-250A-C40C-297B3EDB2583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28" creationId="{2258632D-A506-4344-D6FF-C7C68F8A38A5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29" creationId="{25482E1B-1A32-AFFD-FAF1-350F2DDCD67C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30" creationId="{86DA2AD2-6990-3A4C-A278-0B8EAF14453B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31" creationId="{7D57E695-0788-2FBE-8E7C-D1C56F28F126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32" creationId="{0968B8DE-DC1E-200B-ABA7-80844E726590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33" creationId="{CC636368-2732-576A-B948-B23E2903B777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34" creationId="{91090992-5F11-EC2F-7603-E7FF9FFF4A15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35" creationId="{57B10373-3E00-93BA-4898-E670D2BF0246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36" creationId="{263645F4-2423-15D2-C951-1427673057F0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37" creationId="{A73D981B-44EA-5FB2-D12F-648C84EA3BDB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38" creationId="{2268C558-7995-D900-8640-E2DC6A832A6F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39" creationId="{535ECEF0-F7F1-ED58-449B-D701F73515D3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40" creationId="{1FDE5090-8761-478A-C27F-F7FD71F777DD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41" creationId="{22B901AF-417B-B2CF-5B4A-3C3EC1BC9CA2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42" creationId="{34897D49-939C-2BA3-EAD8-F945426B7880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43" creationId="{0649713B-403E-5240-16FE-35D986E88F8E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44" creationId="{434297A0-7487-ACC9-FC45-E8FF9F03C874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45" creationId="{E1B6E951-F914-0EB3-D578-C6CFF0475F2D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46" creationId="{4F404FB9-FD5C-CA74-F370-6EED715E1CCB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47" creationId="{FE651D32-9219-220B-3AFB-771F313A708B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48" creationId="{BED875A5-D985-16B4-CD88-F41A8CCCD5DE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49" creationId="{ED5E2061-E539-AB0A-91D4-3A13471FCCE6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50" creationId="{5E9D8DB4-268E-9894-E3DD-D970E346925C}"/>
          </ac:spMkLst>
        </pc:spChg>
        <pc:spChg chg="mod">
          <ac:chgData name="Havel, Ales" userId="90458746-abd6-47aa-b501-72f753e6fc06" providerId="ADAL" clId="{B016B2F7-5743-45C6-8606-BC86FF06B8C6}" dt="2024-02-28T20:58:42.012" v="3541"/>
          <ac:spMkLst>
            <pc:docMk/>
            <pc:sldMk cId="3869609718" sldId="2142532965"/>
            <ac:spMk id="351" creationId="{975F7FB0-E688-331D-E04C-D2B0A6EE8558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53" creationId="{369CF82D-CCB2-1AD0-FBF4-A46F9495DA06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54" creationId="{F61C862E-F67C-F681-5923-9D91474C61B9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55" creationId="{6B73A25E-7D95-80D1-A82E-72B7678959A4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56" creationId="{11AEEA5E-C98B-3E6A-135C-2A2654F6B3C0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57" creationId="{CD3C7FC1-7A42-3178-907E-6079A973DE1D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58" creationId="{FAC20163-6348-5871-A0D8-D6E109BC5621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59" creationId="{519C6CD0-F71D-BDDE-5CE2-0B371F8813FF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60" creationId="{2E5852FC-954D-BE4A-F5FB-448D8DBF48F1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61" creationId="{EDEE5A74-FE49-4308-FF77-926F938E62C4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62" creationId="{8BEAA2FA-6AAC-4B0B-84DA-942FCF3B9E0E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63" creationId="{7C811C39-3FD9-8F50-45D6-B67DF538EA3A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64" creationId="{6FC2D10D-5388-6078-A908-6636E687C523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65" creationId="{EC8BD702-DE9D-2903-FD4C-EFC8371778CC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66" creationId="{5E116289-A185-74E4-2924-48F667BBBBE9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67" creationId="{7265102A-8EC4-C7CD-EBF3-291E674C5C7A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68" creationId="{77956A52-02F0-3767-377D-9BE8F9670135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69" creationId="{E214B897-B5BD-2949-A820-94DB6E8DE834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70" creationId="{2B2CD918-91CE-8B7C-AC96-FB5ADC634383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71" creationId="{0C388E77-0A1B-4921-BEF6-9C92F85F8F2A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72" creationId="{FBC249E0-90FA-2327-3653-89BED3A2E9B0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73" creationId="{C52F36E9-0D43-F0B9-7E3C-6F95131FA863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74" creationId="{A004BEB2-3BB5-3987-A8F1-C4F000CEFF5B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75" creationId="{78CD9C10-7B20-2616-962B-F9B9BCCC433E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76" creationId="{75D957E4-8F27-A523-6DD1-6126CB40E600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77" creationId="{D0F11EAC-87DB-F679-E4F3-3ADFCBA37C2C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78" creationId="{3B52A5E5-3401-213B-3F38-AFA8D67C4237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79" creationId="{FD2C4A89-1F3F-9ED4-2076-E275C049CA4C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80" creationId="{0185B90E-3F93-0AD9-EB54-A80BF8025B54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81" creationId="{7B2B692F-B099-3130-6931-B240BC40C2F0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82" creationId="{50A2A5F3-E595-1C8E-6558-4B1D19E13665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83" creationId="{BBCD64C7-DDE6-F5D1-B537-DEEA1D8D0655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84" creationId="{797FE4DA-F4A1-9ADB-21EB-F8C1C403C7D4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85" creationId="{E38BCEEC-1D62-4BFC-4FCD-8D993BD20DCD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86" creationId="{7512793E-8753-F641-2101-BFBC5BA100AB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87" creationId="{1E9C83AE-B614-2017-9688-6AAD6AC9D958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88" creationId="{219C701B-863A-9F00-B21F-51E334F94BEC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89" creationId="{CC4DEC53-9AD5-F043-812E-609295BA3FF0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90" creationId="{434EAA9C-9CA8-028D-95BC-455DEBE57A79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91" creationId="{06A0BF0F-F623-6A7A-D630-D7C25BF47D14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92" creationId="{69CDD234-12A2-B31E-8985-DA646C4ABD55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93" creationId="{0A4A4CC5-A2E8-0EE4-F0C8-CECF8DED1CA6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94" creationId="{7EC1B179-2A08-C7AC-EB39-A4D2A8FE1648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95" creationId="{971125BD-50FD-FF32-3A12-58AA5F332861}"/>
          </ac:spMkLst>
        </pc:spChg>
        <pc:spChg chg="mod">
          <ac:chgData name="Havel, Ales" userId="90458746-abd6-47aa-b501-72f753e6fc06" providerId="ADAL" clId="{B016B2F7-5743-45C6-8606-BC86FF06B8C6}" dt="2024-02-28T20:59:38.495" v="3544"/>
          <ac:spMkLst>
            <pc:docMk/>
            <pc:sldMk cId="3869609718" sldId="2142532965"/>
            <ac:spMk id="396" creationId="{FEA7FC49-9603-B68C-9496-C3D32D8C31BD}"/>
          </ac:spMkLst>
        </pc:spChg>
        <pc:spChg chg="add mod">
          <ac:chgData name="Havel, Ales" userId="90458746-abd6-47aa-b501-72f753e6fc06" providerId="ADAL" clId="{B016B2F7-5743-45C6-8606-BC86FF06B8C6}" dt="2024-02-28T21:04:11.123" v="3615" actId="113"/>
          <ac:spMkLst>
            <pc:docMk/>
            <pc:sldMk cId="3869609718" sldId="2142532965"/>
            <ac:spMk id="397" creationId="{29396F3D-46E8-F1BB-94AD-2B00C9301204}"/>
          </ac:spMkLst>
        </pc:spChg>
        <pc:spChg chg="add mod">
          <ac:chgData name="Havel, Ales" userId="90458746-abd6-47aa-b501-72f753e6fc06" providerId="ADAL" clId="{B016B2F7-5743-45C6-8606-BC86FF06B8C6}" dt="2024-02-28T21:05:50.596" v="3695" actId="14100"/>
          <ac:spMkLst>
            <pc:docMk/>
            <pc:sldMk cId="3869609718" sldId="2142532965"/>
            <ac:spMk id="398" creationId="{F65D0678-00E6-EDF9-24BD-30A2D0FD53F2}"/>
          </ac:spMkLst>
        </pc:spChg>
        <pc:spChg chg="add mod">
          <ac:chgData name="Havel, Ales" userId="90458746-abd6-47aa-b501-72f753e6fc06" providerId="ADAL" clId="{B016B2F7-5743-45C6-8606-BC86FF06B8C6}" dt="2024-02-28T21:05:42.024" v="3694" actId="1076"/>
          <ac:spMkLst>
            <pc:docMk/>
            <pc:sldMk cId="3869609718" sldId="2142532965"/>
            <ac:spMk id="399" creationId="{B06601E9-302A-EC98-E85D-CFF506A10FEE}"/>
          </ac:spMkLst>
        </pc:spChg>
        <pc:spChg chg="add del mod">
          <ac:chgData name="Havel, Ales" userId="90458746-abd6-47aa-b501-72f753e6fc06" providerId="ADAL" clId="{B016B2F7-5743-45C6-8606-BC86FF06B8C6}" dt="2024-02-28T21:06:21.994" v="3697" actId="478"/>
          <ac:spMkLst>
            <pc:docMk/>
            <pc:sldMk cId="3869609718" sldId="2142532965"/>
            <ac:spMk id="401" creationId="{E9E0718F-1AE0-52CB-0821-D6CA666FC5A2}"/>
          </ac:spMkLst>
        </pc:spChg>
        <pc:grpChg chg="add mod">
          <ac:chgData name="Havel, Ales" userId="90458746-abd6-47aa-b501-72f753e6fc06" providerId="ADAL" clId="{B016B2F7-5743-45C6-8606-BC86FF06B8C6}" dt="2024-02-28T20:53:36.861" v="3511" actId="1076"/>
          <ac:grpSpMkLst>
            <pc:docMk/>
            <pc:sldMk cId="3869609718" sldId="2142532965"/>
            <ac:grpSpMk id="28" creationId="{A1C257F9-2D9A-ED2E-855C-FD6497401DFA}"/>
          </ac:grpSpMkLst>
        </pc:grpChg>
        <pc:grpChg chg="add mod">
          <ac:chgData name="Havel, Ales" userId="90458746-abd6-47aa-b501-72f753e6fc06" providerId="ADAL" clId="{B016B2F7-5743-45C6-8606-BC86FF06B8C6}" dt="2024-02-28T20:53:36.861" v="3511" actId="1076"/>
          <ac:grpSpMkLst>
            <pc:docMk/>
            <pc:sldMk cId="3869609718" sldId="2142532965"/>
            <ac:grpSpMk id="106" creationId="{E3421859-D61E-6A4C-674E-BC46DFD37EF6}"/>
          </ac:grpSpMkLst>
        </pc:grpChg>
        <pc:grpChg chg="add mod">
          <ac:chgData name="Havel, Ales" userId="90458746-abd6-47aa-b501-72f753e6fc06" providerId="ADAL" clId="{B016B2F7-5743-45C6-8606-BC86FF06B8C6}" dt="2024-02-28T20:53:36.861" v="3511" actId="1076"/>
          <ac:grpSpMkLst>
            <pc:docMk/>
            <pc:sldMk cId="3869609718" sldId="2142532965"/>
            <ac:grpSpMk id="184" creationId="{E77BD718-7E44-3893-812A-7E839A294BE6}"/>
          </ac:grpSpMkLst>
        </pc:grpChg>
        <pc:grpChg chg="add mod">
          <ac:chgData name="Havel, Ales" userId="90458746-abd6-47aa-b501-72f753e6fc06" providerId="ADAL" clId="{B016B2F7-5743-45C6-8606-BC86FF06B8C6}" dt="2024-02-28T20:58:20.328" v="3540" actId="1076"/>
          <ac:grpSpMkLst>
            <pc:docMk/>
            <pc:sldMk cId="3869609718" sldId="2142532965"/>
            <ac:grpSpMk id="262" creationId="{5398D8F0-F26B-870A-E4B3-9B95B32AA043}"/>
          </ac:grpSpMkLst>
        </pc:grpChg>
        <pc:grpChg chg="add mod">
          <ac:chgData name="Havel, Ales" userId="90458746-abd6-47aa-b501-72f753e6fc06" providerId="ADAL" clId="{B016B2F7-5743-45C6-8606-BC86FF06B8C6}" dt="2024-02-28T20:59:25.822" v="3543" actId="1076"/>
          <ac:grpSpMkLst>
            <pc:docMk/>
            <pc:sldMk cId="3869609718" sldId="2142532965"/>
            <ac:grpSpMk id="307" creationId="{05560CDA-F3A8-EDD2-757C-FC001F614305}"/>
          </ac:grpSpMkLst>
        </pc:grpChg>
        <pc:grpChg chg="add mod">
          <ac:chgData name="Havel, Ales" userId="90458746-abd6-47aa-b501-72f753e6fc06" providerId="ADAL" clId="{B016B2F7-5743-45C6-8606-BC86FF06B8C6}" dt="2024-02-28T20:59:47.160" v="3545" actId="1076"/>
          <ac:grpSpMkLst>
            <pc:docMk/>
            <pc:sldMk cId="3869609718" sldId="2142532965"/>
            <ac:grpSpMk id="352" creationId="{0B4A002A-3389-6844-F473-04B93B9C5B54}"/>
          </ac:grpSpMkLst>
        </pc:grpChg>
        <pc:graphicFrameChg chg="mod">
          <ac:chgData name="Havel, Ales" userId="90458746-abd6-47aa-b501-72f753e6fc06" providerId="ADAL" clId="{B016B2F7-5743-45C6-8606-BC86FF06B8C6}" dt="2024-02-28T20:50:05.046" v="3496"/>
          <ac:graphicFrameMkLst>
            <pc:docMk/>
            <pc:sldMk cId="3869609718" sldId="2142532965"/>
            <ac:graphicFrameMk id="7" creationId="{3BC4D4A2-7CAE-C6FE-6D93-47808E08298A}"/>
          </ac:graphicFrameMkLst>
        </pc:graphicFrameChg>
        <pc:picChg chg="del mod">
          <ac:chgData name="Havel, Ales" userId="90458746-abd6-47aa-b501-72f753e6fc06" providerId="ADAL" clId="{B016B2F7-5743-45C6-8606-BC86FF06B8C6}" dt="2024-02-28T21:06:18.667" v="3696" actId="478"/>
          <ac:picMkLst>
            <pc:docMk/>
            <pc:sldMk cId="3869609718" sldId="2142532965"/>
            <ac:picMk id="8" creationId="{9E479400-077D-F429-8739-9CFEBE136086}"/>
          </ac:picMkLst>
        </pc:picChg>
        <pc:picChg chg="del mod">
          <ac:chgData name="Havel, Ales" userId="90458746-abd6-47aa-b501-72f753e6fc06" providerId="ADAL" clId="{B016B2F7-5743-45C6-8606-BC86FF06B8C6}" dt="2024-02-28T21:06:23.639" v="3698" actId="478"/>
          <ac:picMkLst>
            <pc:docMk/>
            <pc:sldMk cId="3869609718" sldId="2142532965"/>
            <ac:picMk id="10" creationId="{93075967-1F86-1834-DD64-8EA029379B8E}"/>
          </ac:picMkLst>
        </pc:picChg>
      </pc:sldChg>
      <pc:sldChg chg="del">
        <pc:chgData name="Havel, Ales" userId="90458746-abd6-47aa-b501-72f753e6fc06" providerId="ADAL" clId="{B016B2F7-5743-45C6-8606-BC86FF06B8C6}" dt="2024-02-28T20:56:45.404" v="3522" actId="47"/>
        <pc:sldMkLst>
          <pc:docMk/>
          <pc:sldMk cId="2444137382" sldId="2142532966"/>
        </pc:sldMkLst>
      </pc:sldChg>
      <pc:sldChg chg="modSp mod ord modNotesTx">
        <pc:chgData name="Havel, Ales" userId="90458746-abd6-47aa-b501-72f753e6fc06" providerId="ADAL" clId="{B016B2F7-5743-45C6-8606-BC86FF06B8C6}" dt="2024-02-29T09:19:19.548" v="5673" actId="20577"/>
        <pc:sldMkLst>
          <pc:docMk/>
          <pc:sldMk cId="3002113024" sldId="2142532967"/>
        </pc:sldMkLst>
        <pc:spChg chg="mod">
          <ac:chgData name="Havel, Ales" userId="90458746-abd6-47aa-b501-72f753e6fc06" providerId="ADAL" clId="{B016B2F7-5743-45C6-8606-BC86FF06B8C6}" dt="2024-02-29T08:09:13.652" v="5402" actId="20577"/>
          <ac:spMkLst>
            <pc:docMk/>
            <pc:sldMk cId="3002113024" sldId="2142532967"/>
            <ac:spMk id="4" creationId="{59EA81F8-C273-4C10-B47F-8DC8A6229866}"/>
          </ac:spMkLst>
        </pc:spChg>
      </pc:sldChg>
      <pc:sldChg chg="del">
        <pc:chgData name="Havel, Ales" userId="90458746-abd6-47aa-b501-72f753e6fc06" providerId="ADAL" clId="{B016B2F7-5743-45C6-8606-BC86FF06B8C6}" dt="2024-02-28T20:56:43.382" v="3520" actId="47"/>
        <pc:sldMkLst>
          <pc:docMk/>
          <pc:sldMk cId="3672887170" sldId="2142532968"/>
        </pc:sldMkLst>
      </pc:sldChg>
      <pc:sldChg chg="ord modNotesTx">
        <pc:chgData name="Havel, Ales" userId="90458746-abd6-47aa-b501-72f753e6fc06" providerId="ADAL" clId="{B016B2F7-5743-45C6-8606-BC86FF06B8C6}" dt="2024-02-29T09:19:33.041" v="5675" actId="20577"/>
        <pc:sldMkLst>
          <pc:docMk/>
          <pc:sldMk cId="1326820663" sldId="2142532970"/>
        </pc:sldMkLst>
      </pc:sldChg>
      <pc:sldChg chg="del">
        <pc:chgData name="Havel, Ales" userId="90458746-abd6-47aa-b501-72f753e6fc06" providerId="ADAL" clId="{B016B2F7-5743-45C6-8606-BC86FF06B8C6}" dt="2024-02-28T20:56:47.334" v="3525" actId="47"/>
        <pc:sldMkLst>
          <pc:docMk/>
          <pc:sldMk cId="1365649569" sldId="2142532971"/>
        </pc:sldMkLst>
      </pc:sldChg>
      <pc:sldChg chg="del">
        <pc:chgData name="Havel, Ales" userId="90458746-abd6-47aa-b501-72f753e6fc06" providerId="ADAL" clId="{B016B2F7-5743-45C6-8606-BC86FF06B8C6}" dt="2024-02-28T20:56:49.011" v="3527" actId="47"/>
        <pc:sldMkLst>
          <pc:docMk/>
          <pc:sldMk cId="2116255010" sldId="2142532972"/>
        </pc:sldMkLst>
      </pc:sldChg>
      <pc:sldChg chg="del">
        <pc:chgData name="Havel, Ales" userId="90458746-abd6-47aa-b501-72f753e6fc06" providerId="ADAL" clId="{B016B2F7-5743-45C6-8606-BC86FF06B8C6}" dt="2024-02-28T20:56:50.014" v="3528" actId="47"/>
        <pc:sldMkLst>
          <pc:docMk/>
          <pc:sldMk cId="357712108" sldId="2142532973"/>
        </pc:sldMkLst>
      </pc:sldChg>
      <pc:sldChg chg="del">
        <pc:chgData name="Havel, Ales" userId="90458746-abd6-47aa-b501-72f753e6fc06" providerId="ADAL" clId="{B016B2F7-5743-45C6-8606-BC86FF06B8C6}" dt="2024-02-28T20:56:50.656" v="3529" actId="47"/>
        <pc:sldMkLst>
          <pc:docMk/>
          <pc:sldMk cId="3261214605" sldId="2142532974"/>
        </pc:sldMkLst>
      </pc:sldChg>
      <pc:sldChg chg="ord modNotesTx">
        <pc:chgData name="Havel, Ales" userId="90458746-abd6-47aa-b501-72f753e6fc06" providerId="ADAL" clId="{B016B2F7-5743-45C6-8606-BC86FF06B8C6}" dt="2024-02-29T09:19:39.418" v="5678" actId="20577"/>
        <pc:sldMkLst>
          <pc:docMk/>
          <pc:sldMk cId="4136924156" sldId="2142532975"/>
        </pc:sldMkLst>
      </pc:sldChg>
      <pc:sldChg chg="addSp delSp modSp new mod modNotesTx">
        <pc:chgData name="Havel, Ales" userId="90458746-abd6-47aa-b501-72f753e6fc06" providerId="ADAL" clId="{B016B2F7-5743-45C6-8606-BC86FF06B8C6}" dt="2024-02-29T09:14:06.408" v="5666" actId="20577"/>
        <pc:sldMkLst>
          <pc:docMk/>
          <pc:sldMk cId="3047558829" sldId="2142532976"/>
        </pc:sldMkLst>
        <pc:spChg chg="mod">
          <ac:chgData name="Havel, Ales" userId="90458746-abd6-47aa-b501-72f753e6fc06" providerId="ADAL" clId="{B016B2F7-5743-45C6-8606-BC86FF06B8C6}" dt="2024-02-28T20:42:09.089" v="2838" actId="20577"/>
          <ac:spMkLst>
            <pc:docMk/>
            <pc:sldMk cId="3047558829" sldId="2142532976"/>
            <ac:spMk id="2" creationId="{37A17FF2-D835-BF29-870D-00960FF27271}"/>
          </ac:spMkLst>
        </pc:spChg>
        <pc:spChg chg="mod">
          <ac:chgData name="Havel, Ales" userId="90458746-abd6-47aa-b501-72f753e6fc06" providerId="ADAL" clId="{B016B2F7-5743-45C6-8606-BC86FF06B8C6}" dt="2024-02-28T19:04:19.338" v="2142" actId="948"/>
          <ac:spMkLst>
            <pc:docMk/>
            <pc:sldMk cId="3047558829" sldId="2142532976"/>
            <ac:spMk id="5" creationId="{545467A0-E8B6-8F50-21C9-9D8A55917642}"/>
          </ac:spMkLst>
        </pc:spChg>
        <pc:spChg chg="add del mod modVis">
          <ac:chgData name="Havel, Ales" userId="90458746-abd6-47aa-b501-72f753e6fc06" providerId="ADAL" clId="{B016B2F7-5743-45C6-8606-BC86FF06B8C6}" dt="2024-02-28T19:03:56.672" v="1730"/>
          <ac:spMkLst>
            <pc:docMk/>
            <pc:sldMk cId="3047558829" sldId="2142532976"/>
            <ac:spMk id="7" creationId="{96D681B9-1359-67AD-43A2-2541385E3C67}"/>
          </ac:spMkLst>
        </pc:spChg>
        <pc:spChg chg="add del mod modVis">
          <ac:chgData name="Havel, Ales" userId="90458746-abd6-47aa-b501-72f753e6fc06" providerId="ADAL" clId="{B016B2F7-5743-45C6-8606-BC86FF06B8C6}" dt="2024-02-28T19:03:59.944" v="1770"/>
          <ac:spMkLst>
            <pc:docMk/>
            <pc:sldMk cId="3047558829" sldId="2142532976"/>
            <ac:spMk id="8" creationId="{C4844858-BB39-6868-F929-78F761CBE821}"/>
          </ac:spMkLst>
        </pc:spChg>
        <pc:spChg chg="add del mod modVis">
          <ac:chgData name="Havel, Ales" userId="90458746-abd6-47aa-b501-72f753e6fc06" providerId="ADAL" clId="{B016B2F7-5743-45C6-8606-BC86FF06B8C6}" dt="2024-02-28T19:04:00.773" v="1799"/>
          <ac:spMkLst>
            <pc:docMk/>
            <pc:sldMk cId="3047558829" sldId="2142532976"/>
            <ac:spMk id="9" creationId="{6964ACAE-EFC6-2627-C94E-291E3DB44428}"/>
          </ac:spMkLst>
        </pc:spChg>
        <pc:spChg chg="add del mod modVis">
          <ac:chgData name="Havel, Ales" userId="90458746-abd6-47aa-b501-72f753e6fc06" providerId="ADAL" clId="{B016B2F7-5743-45C6-8606-BC86FF06B8C6}" dt="2024-02-28T19:04:03.181" v="1831"/>
          <ac:spMkLst>
            <pc:docMk/>
            <pc:sldMk cId="3047558829" sldId="2142532976"/>
            <ac:spMk id="10" creationId="{1CDE0FC0-21C3-0D5D-A745-F1365EEB8B0F}"/>
          </ac:spMkLst>
        </pc:spChg>
        <pc:spChg chg="add del mod modVis">
          <ac:chgData name="Havel, Ales" userId="90458746-abd6-47aa-b501-72f753e6fc06" providerId="ADAL" clId="{B016B2F7-5743-45C6-8606-BC86FF06B8C6}" dt="2024-02-28T19:04:03.993" v="1859"/>
          <ac:spMkLst>
            <pc:docMk/>
            <pc:sldMk cId="3047558829" sldId="2142532976"/>
            <ac:spMk id="11" creationId="{E0EB1371-836C-946B-8A31-A68F28AAE022}"/>
          </ac:spMkLst>
        </pc:spChg>
        <pc:spChg chg="add del mod modVis">
          <ac:chgData name="Havel, Ales" userId="90458746-abd6-47aa-b501-72f753e6fc06" providerId="ADAL" clId="{B016B2F7-5743-45C6-8606-BC86FF06B8C6}" dt="2024-02-28T19:04:07.644" v="1894"/>
          <ac:spMkLst>
            <pc:docMk/>
            <pc:sldMk cId="3047558829" sldId="2142532976"/>
            <ac:spMk id="12" creationId="{D6B4EC43-F86B-78B1-C5AA-BB542425778E}"/>
          </ac:spMkLst>
        </pc:spChg>
        <pc:spChg chg="add del mod modVis">
          <ac:chgData name="Havel, Ales" userId="90458746-abd6-47aa-b501-72f753e6fc06" providerId="ADAL" clId="{B016B2F7-5743-45C6-8606-BC86FF06B8C6}" dt="2024-02-28T19:04:08.544" v="1924"/>
          <ac:spMkLst>
            <pc:docMk/>
            <pc:sldMk cId="3047558829" sldId="2142532976"/>
            <ac:spMk id="13" creationId="{75DFFF74-BAC4-1D93-BE0F-03E8B7D1458F}"/>
          </ac:spMkLst>
        </pc:spChg>
        <pc:spChg chg="add del mod modVis">
          <ac:chgData name="Havel, Ales" userId="90458746-abd6-47aa-b501-72f753e6fc06" providerId="ADAL" clId="{B016B2F7-5743-45C6-8606-BC86FF06B8C6}" dt="2024-02-28T19:04:13.707" v="1958"/>
          <ac:spMkLst>
            <pc:docMk/>
            <pc:sldMk cId="3047558829" sldId="2142532976"/>
            <ac:spMk id="14" creationId="{78BC0690-78CB-0F7D-87DE-C28885F95FDC}"/>
          </ac:spMkLst>
        </pc:spChg>
        <pc:spChg chg="add del mod modVis">
          <ac:chgData name="Havel, Ales" userId="90458746-abd6-47aa-b501-72f753e6fc06" providerId="ADAL" clId="{B016B2F7-5743-45C6-8606-BC86FF06B8C6}" dt="2024-02-28T19:04:14.654" v="1989"/>
          <ac:spMkLst>
            <pc:docMk/>
            <pc:sldMk cId="3047558829" sldId="2142532976"/>
            <ac:spMk id="15" creationId="{43B2B4AB-AF35-B1E1-EF36-692D1F5D548B}"/>
          </ac:spMkLst>
        </pc:spChg>
        <pc:spChg chg="add del mod modVis">
          <ac:chgData name="Havel, Ales" userId="90458746-abd6-47aa-b501-72f753e6fc06" providerId="ADAL" clId="{B016B2F7-5743-45C6-8606-BC86FF06B8C6}" dt="2024-02-28T19:04:15.626" v="2018"/>
          <ac:spMkLst>
            <pc:docMk/>
            <pc:sldMk cId="3047558829" sldId="2142532976"/>
            <ac:spMk id="16" creationId="{5E60E7B2-C03D-4530-803C-DFF317EDA6A4}"/>
          </ac:spMkLst>
        </pc:spChg>
        <pc:spChg chg="add del mod modVis">
          <ac:chgData name="Havel, Ales" userId="90458746-abd6-47aa-b501-72f753e6fc06" providerId="ADAL" clId="{B016B2F7-5743-45C6-8606-BC86FF06B8C6}" dt="2024-02-28T19:04:16.207" v="2046"/>
          <ac:spMkLst>
            <pc:docMk/>
            <pc:sldMk cId="3047558829" sldId="2142532976"/>
            <ac:spMk id="17" creationId="{12658669-6DBC-A488-C8DE-C77D50224D2D}"/>
          </ac:spMkLst>
        </pc:spChg>
        <pc:spChg chg="add del mod modVis">
          <ac:chgData name="Havel, Ales" userId="90458746-abd6-47aa-b501-72f753e6fc06" providerId="ADAL" clId="{B016B2F7-5743-45C6-8606-BC86FF06B8C6}" dt="2024-02-28T19:04:16.792" v="2074"/>
          <ac:spMkLst>
            <pc:docMk/>
            <pc:sldMk cId="3047558829" sldId="2142532976"/>
            <ac:spMk id="18" creationId="{B701EFE7-20A7-232D-872F-1F13D006DFF8}"/>
          </ac:spMkLst>
        </pc:spChg>
        <pc:spChg chg="add del mod modVis">
          <ac:chgData name="Havel, Ales" userId="90458746-abd6-47aa-b501-72f753e6fc06" providerId="ADAL" clId="{B016B2F7-5743-45C6-8606-BC86FF06B8C6}" dt="2024-02-28T19:04:18.158" v="2107"/>
          <ac:spMkLst>
            <pc:docMk/>
            <pc:sldMk cId="3047558829" sldId="2142532976"/>
            <ac:spMk id="19" creationId="{819F1619-9514-A448-F487-E3DA671B3E59}"/>
          </ac:spMkLst>
        </pc:spChg>
        <pc:spChg chg="add del mod modVis">
          <ac:chgData name="Havel, Ales" userId="90458746-abd6-47aa-b501-72f753e6fc06" providerId="ADAL" clId="{B016B2F7-5743-45C6-8606-BC86FF06B8C6}" dt="2024-02-28T19:04:18.460" v="2136"/>
          <ac:spMkLst>
            <pc:docMk/>
            <pc:sldMk cId="3047558829" sldId="2142532976"/>
            <ac:spMk id="20" creationId="{ACD7684A-BA90-A59B-F4EF-F1D4BCE049DD}"/>
          </ac:spMkLst>
        </pc:spChg>
        <pc:spChg chg="add del mod modVis">
          <ac:chgData name="Havel, Ales" userId="90458746-abd6-47aa-b501-72f753e6fc06" providerId="ADAL" clId="{B016B2F7-5743-45C6-8606-BC86FF06B8C6}" dt="2024-02-28T19:04:19.437" v="2166"/>
          <ac:spMkLst>
            <pc:docMk/>
            <pc:sldMk cId="3047558829" sldId="2142532976"/>
            <ac:spMk id="21" creationId="{7F748212-2B58-EB3F-CD3C-FCD1636463A8}"/>
          </ac:spMkLst>
        </pc:spChg>
        <pc:spChg chg="add mod">
          <ac:chgData name="Havel, Ales" userId="90458746-abd6-47aa-b501-72f753e6fc06" providerId="ADAL" clId="{B016B2F7-5743-45C6-8606-BC86FF06B8C6}" dt="2024-02-28T20:43:43.691" v="3003" actId="20577"/>
          <ac:spMkLst>
            <pc:docMk/>
            <pc:sldMk cId="3047558829" sldId="2142532976"/>
            <ac:spMk id="22" creationId="{FBB7FFA1-EF2A-7B82-98BB-286AC18D32CB}"/>
          </ac:spMkLst>
        </pc:spChg>
        <pc:spChg chg="add mod">
          <ac:chgData name="Havel, Ales" userId="90458746-abd6-47aa-b501-72f753e6fc06" providerId="ADAL" clId="{B016B2F7-5743-45C6-8606-BC86FF06B8C6}" dt="2024-02-28T20:46:04.540" v="3134" actId="20577"/>
          <ac:spMkLst>
            <pc:docMk/>
            <pc:sldMk cId="3047558829" sldId="2142532976"/>
            <ac:spMk id="23" creationId="{A6B26F6E-0647-36FE-0181-D12A850C50F4}"/>
          </ac:spMkLst>
        </pc:spChg>
        <pc:graphicFrameChg chg="add mod ord modVis replST">
          <ac:chgData name="Havel, Ales" userId="90458746-abd6-47aa-b501-72f753e6fc06" providerId="ADAL" clId="{B016B2F7-5743-45C6-8606-BC86FF06B8C6}" dt="2024-02-28T19:04:19.446" v="2168"/>
          <ac:graphicFrameMkLst>
            <pc:docMk/>
            <pc:sldMk cId="3047558829" sldId="2142532976"/>
            <ac:graphicFrameMk id="6" creationId="{4EBA6241-3491-BC31-02C3-367F14AAD0F2}"/>
          </ac:graphicFrameMkLst>
        </pc:graphicFrameChg>
        <pc:picChg chg="add mod">
          <ac:chgData name="Havel, Ales" userId="90458746-abd6-47aa-b501-72f753e6fc06" providerId="ADAL" clId="{B016B2F7-5743-45C6-8606-BC86FF06B8C6}" dt="2024-02-28T20:21:44.873" v="2617" actId="1076"/>
          <ac:picMkLst>
            <pc:docMk/>
            <pc:sldMk cId="3047558829" sldId="2142532976"/>
            <ac:picMk id="25" creationId="{FD6EC36A-CE1B-1BF4-88A7-02F8C4C9A5CC}"/>
          </ac:picMkLst>
        </pc:picChg>
        <pc:picChg chg="add mod">
          <ac:chgData name="Havel, Ales" userId="90458746-abd6-47aa-b501-72f753e6fc06" providerId="ADAL" clId="{B016B2F7-5743-45C6-8606-BC86FF06B8C6}" dt="2024-02-28T20:28:09.464" v="2620" actId="1076"/>
          <ac:picMkLst>
            <pc:docMk/>
            <pc:sldMk cId="3047558829" sldId="2142532976"/>
            <ac:picMk id="27" creationId="{3869B5A0-EBD7-A9A1-BA94-A373B1542E36}"/>
          </ac:picMkLst>
        </pc:picChg>
        <pc:picChg chg="add mod modCrop">
          <ac:chgData name="Havel, Ales" userId="90458746-abd6-47aa-b501-72f753e6fc06" providerId="ADAL" clId="{B016B2F7-5743-45C6-8606-BC86FF06B8C6}" dt="2024-02-28T20:34:50.292" v="2631" actId="1076"/>
          <ac:picMkLst>
            <pc:docMk/>
            <pc:sldMk cId="3047558829" sldId="2142532976"/>
            <ac:picMk id="29" creationId="{BA7BA9CC-E5D8-5077-8FE9-570A096A811C}"/>
          </ac:picMkLst>
        </pc:picChg>
      </pc:sldChg>
      <pc:sldChg chg="add del">
        <pc:chgData name="Havel, Ales" userId="90458746-abd6-47aa-b501-72f753e6fc06" providerId="ADAL" clId="{B016B2F7-5743-45C6-8606-BC86FF06B8C6}" dt="2024-02-28T21:08:07.522" v="3700" actId="47"/>
        <pc:sldMkLst>
          <pc:docMk/>
          <pc:sldMk cId="3761632252" sldId="2142532977"/>
        </pc:sldMkLst>
      </pc:sldChg>
      <pc:sldChg chg="addSp delSp modSp new mod modNotesTx">
        <pc:chgData name="Havel, Ales" userId="90458746-abd6-47aa-b501-72f753e6fc06" providerId="ADAL" clId="{B016B2F7-5743-45C6-8606-BC86FF06B8C6}" dt="2024-02-29T09:19:29.371" v="5674" actId="20577"/>
        <pc:sldMkLst>
          <pc:docMk/>
          <pc:sldMk cId="4142966469" sldId="2142532977"/>
        </pc:sldMkLst>
        <pc:spChg chg="del">
          <ac:chgData name="Havel, Ales" userId="90458746-abd6-47aa-b501-72f753e6fc06" providerId="ADAL" clId="{B016B2F7-5743-45C6-8606-BC86FF06B8C6}" dt="2024-02-28T21:08:17.821" v="3702" actId="22"/>
          <ac:spMkLst>
            <pc:docMk/>
            <pc:sldMk cId="4142966469" sldId="2142532977"/>
            <ac:spMk id="2" creationId="{54F2C94F-5C12-7C5A-FA26-BC29B9B32B77}"/>
          </ac:spMkLst>
        </pc:spChg>
        <pc:spChg chg="mod">
          <ac:chgData name="Havel, Ales" userId="90458746-abd6-47aa-b501-72f753e6fc06" providerId="ADAL" clId="{B016B2F7-5743-45C6-8606-BC86FF06B8C6}" dt="2024-02-29T07:30:02.470" v="4021" actId="948"/>
          <ac:spMkLst>
            <pc:docMk/>
            <pc:sldMk cId="4142966469" sldId="2142532977"/>
            <ac:spMk id="5" creationId="{62848977-291E-18E4-5747-3864FE217DE5}"/>
          </ac:spMkLst>
        </pc:spChg>
        <pc:spChg chg="add del mod modVis">
          <ac:chgData name="Havel, Ales" userId="90458746-abd6-47aa-b501-72f753e6fc06" providerId="ADAL" clId="{B016B2F7-5743-45C6-8606-BC86FF06B8C6}" dt="2024-02-29T07:29:39.297" v="3755"/>
          <ac:spMkLst>
            <pc:docMk/>
            <pc:sldMk cId="4142966469" sldId="2142532977"/>
            <ac:spMk id="6" creationId="{0FA7F214-B40F-4AFE-24F3-E62FEED7FD35}"/>
          </ac:spMkLst>
        </pc:spChg>
        <pc:spChg chg="add del mod modVis">
          <ac:chgData name="Havel, Ales" userId="90458746-abd6-47aa-b501-72f753e6fc06" providerId="ADAL" clId="{B016B2F7-5743-45C6-8606-BC86FF06B8C6}" dt="2024-02-29T07:29:40.961" v="3788"/>
          <ac:spMkLst>
            <pc:docMk/>
            <pc:sldMk cId="4142966469" sldId="2142532977"/>
            <ac:spMk id="8" creationId="{6E1C5C4D-2E09-48FD-67E5-747A8DFE0C13}"/>
          </ac:spMkLst>
        </pc:spChg>
        <pc:spChg chg="add del mod modVis">
          <ac:chgData name="Havel, Ales" userId="90458746-abd6-47aa-b501-72f753e6fc06" providerId="ADAL" clId="{B016B2F7-5743-45C6-8606-BC86FF06B8C6}" dt="2024-02-29T07:29:43.031" v="3823"/>
          <ac:spMkLst>
            <pc:docMk/>
            <pc:sldMk cId="4142966469" sldId="2142532977"/>
            <ac:spMk id="9" creationId="{48AB32DB-F861-4998-D354-A7520E6C5B84}"/>
          </ac:spMkLst>
        </pc:spChg>
        <pc:spChg chg="add del mod modVis">
          <ac:chgData name="Havel, Ales" userId="90458746-abd6-47aa-b501-72f753e6fc06" providerId="ADAL" clId="{B016B2F7-5743-45C6-8606-BC86FF06B8C6}" dt="2024-02-29T07:29:45.546" v="3861"/>
          <ac:spMkLst>
            <pc:docMk/>
            <pc:sldMk cId="4142966469" sldId="2142532977"/>
            <ac:spMk id="10" creationId="{B22C4208-4AF1-37B9-F793-28B10630161C}"/>
          </ac:spMkLst>
        </pc:spChg>
        <pc:spChg chg="add del mod modVis">
          <ac:chgData name="Havel, Ales" userId="90458746-abd6-47aa-b501-72f753e6fc06" providerId="ADAL" clId="{B016B2F7-5743-45C6-8606-BC86FF06B8C6}" dt="2024-02-29T07:29:51.511" v="3905"/>
          <ac:spMkLst>
            <pc:docMk/>
            <pc:sldMk cId="4142966469" sldId="2142532977"/>
            <ac:spMk id="11" creationId="{808A4A8D-745B-3F85-D8D3-A8B385BE1687}"/>
          </ac:spMkLst>
        </pc:spChg>
        <pc:spChg chg="add del mod modVis">
          <ac:chgData name="Havel, Ales" userId="90458746-abd6-47aa-b501-72f753e6fc06" providerId="ADAL" clId="{B016B2F7-5743-45C6-8606-BC86FF06B8C6}" dt="2024-02-29T07:29:56.383" v="3946"/>
          <ac:spMkLst>
            <pc:docMk/>
            <pc:sldMk cId="4142966469" sldId="2142532977"/>
            <ac:spMk id="12" creationId="{C97A58FB-DE78-38E5-A6D5-1546B623B33B}"/>
          </ac:spMkLst>
        </pc:spChg>
        <pc:spChg chg="add del mod modVis">
          <ac:chgData name="Havel, Ales" userId="90458746-abd6-47aa-b501-72f753e6fc06" providerId="ADAL" clId="{B016B2F7-5743-45C6-8606-BC86FF06B8C6}" dt="2024-02-29T07:29:57.691" v="3976"/>
          <ac:spMkLst>
            <pc:docMk/>
            <pc:sldMk cId="4142966469" sldId="2142532977"/>
            <ac:spMk id="13" creationId="{88141526-93E3-C853-C889-15C890564967}"/>
          </ac:spMkLst>
        </pc:spChg>
        <pc:spChg chg="add del mod modVis">
          <ac:chgData name="Havel, Ales" userId="90458746-abd6-47aa-b501-72f753e6fc06" providerId="ADAL" clId="{B016B2F7-5743-45C6-8606-BC86FF06B8C6}" dt="2024-02-29T07:30:01.894" v="4017"/>
          <ac:spMkLst>
            <pc:docMk/>
            <pc:sldMk cId="4142966469" sldId="2142532977"/>
            <ac:spMk id="14" creationId="{EA5F3E76-ECFC-534E-7C93-BC63E2252636}"/>
          </ac:spMkLst>
        </pc:spChg>
        <pc:spChg chg="add del mod modVis">
          <ac:chgData name="Havel, Ales" userId="90458746-abd6-47aa-b501-72f753e6fc06" providerId="ADAL" clId="{B016B2F7-5743-45C6-8606-BC86FF06B8C6}" dt="2024-02-29T07:30:02.509" v="4045"/>
          <ac:spMkLst>
            <pc:docMk/>
            <pc:sldMk cId="4142966469" sldId="2142532977"/>
            <ac:spMk id="15" creationId="{2C6A9276-F441-1A3F-5577-4985253DE137}"/>
          </ac:spMkLst>
        </pc:spChg>
        <pc:spChg chg="mod">
          <ac:chgData name="Havel, Ales" userId="90458746-abd6-47aa-b501-72f753e6fc06" providerId="ADAL" clId="{B016B2F7-5743-45C6-8606-BC86FF06B8C6}" dt="2024-02-29T07:32:44.243" v="4082" actId="20577"/>
          <ac:spMkLst>
            <pc:docMk/>
            <pc:sldMk cId="4142966469" sldId="2142532977"/>
            <ac:spMk id="17" creationId="{35D9818B-8E87-0E67-099B-2F6B6C96E63A}"/>
          </ac:spMkLst>
        </pc:spChg>
        <pc:spChg chg="mod">
          <ac:chgData name="Havel, Ales" userId="90458746-abd6-47aa-b501-72f753e6fc06" providerId="ADAL" clId="{B016B2F7-5743-45C6-8606-BC86FF06B8C6}" dt="2024-02-29T07:30:32.542" v="4049"/>
          <ac:spMkLst>
            <pc:docMk/>
            <pc:sldMk cId="4142966469" sldId="2142532977"/>
            <ac:spMk id="18" creationId="{1701F40F-C67D-6601-B541-A04E8DF7A391}"/>
          </ac:spMkLst>
        </pc:spChg>
        <pc:spChg chg="mod">
          <ac:chgData name="Havel, Ales" userId="90458746-abd6-47aa-b501-72f753e6fc06" providerId="ADAL" clId="{B016B2F7-5743-45C6-8606-BC86FF06B8C6}" dt="2024-02-29T07:32:59.314" v="4121" actId="20577"/>
          <ac:spMkLst>
            <pc:docMk/>
            <pc:sldMk cId="4142966469" sldId="2142532977"/>
            <ac:spMk id="20" creationId="{0D528F64-5A55-BD0A-0326-2F27BFFFAF93}"/>
          </ac:spMkLst>
        </pc:spChg>
        <pc:spChg chg="mod">
          <ac:chgData name="Havel, Ales" userId="90458746-abd6-47aa-b501-72f753e6fc06" providerId="ADAL" clId="{B016B2F7-5743-45C6-8606-BC86FF06B8C6}" dt="2024-02-29T07:30:54.086" v="4051"/>
          <ac:spMkLst>
            <pc:docMk/>
            <pc:sldMk cId="4142966469" sldId="2142532977"/>
            <ac:spMk id="21" creationId="{C5BA93B8-233C-D3F2-2C74-31C4CF54B0B2}"/>
          </ac:spMkLst>
        </pc:spChg>
        <pc:spChg chg="add mod">
          <ac:chgData name="Havel, Ales" userId="90458746-abd6-47aa-b501-72f753e6fc06" providerId="ADAL" clId="{B016B2F7-5743-45C6-8606-BC86FF06B8C6}" dt="2024-02-29T07:39:54.475" v="4367" actId="20577"/>
          <ac:spMkLst>
            <pc:docMk/>
            <pc:sldMk cId="4142966469" sldId="2142532977"/>
            <ac:spMk id="24" creationId="{FD64B421-952A-B2A0-F5FF-2B299C5CC121}"/>
          </ac:spMkLst>
        </pc:spChg>
        <pc:spChg chg="add mod">
          <ac:chgData name="Havel, Ales" userId="90458746-abd6-47aa-b501-72f753e6fc06" providerId="ADAL" clId="{B016B2F7-5743-45C6-8606-BC86FF06B8C6}" dt="2024-02-29T07:42:28.337" v="4535" actId="20577"/>
          <ac:spMkLst>
            <pc:docMk/>
            <pc:sldMk cId="4142966469" sldId="2142532977"/>
            <ac:spMk id="25" creationId="{44BE210F-4BCF-9F48-42AC-87E279FF70DB}"/>
          </ac:spMkLst>
        </pc:spChg>
        <pc:grpChg chg="add mod">
          <ac:chgData name="Havel, Ales" userId="90458746-abd6-47aa-b501-72f753e6fc06" providerId="ADAL" clId="{B016B2F7-5743-45C6-8606-BC86FF06B8C6}" dt="2024-02-29T07:30:37.197" v="4050" actId="14100"/>
          <ac:grpSpMkLst>
            <pc:docMk/>
            <pc:sldMk cId="4142966469" sldId="2142532977"/>
            <ac:grpSpMk id="16" creationId="{E942C6B4-9EAE-92A3-4513-2A01048334AB}"/>
          </ac:grpSpMkLst>
        </pc:grpChg>
        <pc:grpChg chg="add mod">
          <ac:chgData name="Havel, Ales" userId="90458746-abd6-47aa-b501-72f753e6fc06" providerId="ADAL" clId="{B016B2F7-5743-45C6-8606-BC86FF06B8C6}" dt="2024-02-29T07:30:59.696" v="4052" actId="1076"/>
          <ac:grpSpMkLst>
            <pc:docMk/>
            <pc:sldMk cId="4142966469" sldId="2142532977"/>
            <ac:grpSpMk id="19" creationId="{47C4BA81-F648-3D0E-CD53-2EDAE2C80503}"/>
          </ac:grpSpMkLst>
        </pc:grpChg>
        <pc:graphicFrameChg chg="add mod ord modVis replST">
          <ac:chgData name="Havel, Ales" userId="90458746-abd6-47aa-b501-72f753e6fc06" providerId="ADAL" clId="{B016B2F7-5743-45C6-8606-BC86FF06B8C6}" dt="2024-02-29T07:30:02.526" v="4047"/>
          <ac:graphicFrameMkLst>
            <pc:docMk/>
            <pc:sldMk cId="4142966469" sldId="2142532977"/>
            <ac:graphicFrameMk id="2" creationId="{7494F5E0-BC90-2712-EBD9-0CC6C7C8C31E}"/>
          </ac:graphicFrameMkLst>
        </pc:graphicFrameChg>
        <pc:picChg chg="add mod ord">
          <ac:chgData name="Havel, Ales" userId="90458746-abd6-47aa-b501-72f753e6fc06" providerId="ADAL" clId="{B016B2F7-5743-45C6-8606-BC86FF06B8C6}" dt="2024-02-29T07:33:11.315" v="4125" actId="14100"/>
          <ac:picMkLst>
            <pc:docMk/>
            <pc:sldMk cId="4142966469" sldId="2142532977"/>
            <ac:picMk id="7" creationId="{6B5A3C51-D963-57BB-C75C-2D5F2F6D6AC8}"/>
          </ac:picMkLst>
        </pc:picChg>
        <pc:picChg chg="add mod">
          <ac:chgData name="Havel, Ales" userId="90458746-abd6-47aa-b501-72f753e6fc06" providerId="ADAL" clId="{B016B2F7-5743-45C6-8606-BC86FF06B8C6}" dt="2024-02-29T07:35:42.887" v="4131" actId="1076"/>
          <ac:picMkLst>
            <pc:docMk/>
            <pc:sldMk cId="4142966469" sldId="2142532977"/>
            <ac:picMk id="23" creationId="{5F5F2B80-01AD-6ADE-86CD-FED709213020}"/>
          </ac:picMkLst>
        </pc:picChg>
      </pc:sldChg>
      <pc:sldChg chg="addSp delSp modSp new mod modNotesTx">
        <pc:chgData name="Havel, Ales" userId="90458746-abd6-47aa-b501-72f753e6fc06" providerId="ADAL" clId="{B016B2F7-5743-45C6-8606-BC86FF06B8C6}" dt="2024-02-29T09:22:03.546" v="5681" actId="20577"/>
        <pc:sldMkLst>
          <pc:docMk/>
          <pc:sldMk cId="1522876489" sldId="2142532978"/>
        </pc:sldMkLst>
        <pc:spChg chg="mod">
          <ac:chgData name="Havel, Ales" userId="90458746-abd6-47aa-b501-72f753e6fc06" providerId="ADAL" clId="{B016B2F7-5743-45C6-8606-BC86FF06B8C6}" dt="2024-02-29T08:34:39.409" v="5657" actId="14861"/>
          <ac:spMkLst>
            <pc:docMk/>
            <pc:sldMk cId="1522876489" sldId="2142532978"/>
            <ac:spMk id="2" creationId="{C15D8F56-184A-A750-5DBB-D9A11FA289B5}"/>
          </ac:spMkLst>
        </pc:spChg>
        <pc:spChg chg="mod">
          <ac:chgData name="Havel, Ales" userId="90458746-abd6-47aa-b501-72f753e6fc06" providerId="ADAL" clId="{B016B2F7-5743-45C6-8606-BC86FF06B8C6}" dt="2024-02-29T07:58:38.006" v="4723" actId="948"/>
          <ac:spMkLst>
            <pc:docMk/>
            <pc:sldMk cId="1522876489" sldId="2142532978"/>
            <ac:spMk id="5" creationId="{78C5E2AB-20BF-66E0-D51C-B9205429BA87}"/>
          </ac:spMkLst>
        </pc:spChg>
        <pc:spChg chg="add del mod modVis">
          <ac:chgData name="Havel, Ales" userId="90458746-abd6-47aa-b501-72f753e6fc06" providerId="ADAL" clId="{B016B2F7-5743-45C6-8606-BC86FF06B8C6}" dt="2024-02-29T07:57:56.125" v="4611"/>
          <ac:spMkLst>
            <pc:docMk/>
            <pc:sldMk cId="1522876489" sldId="2142532978"/>
            <ac:spMk id="7" creationId="{203D873D-CF0E-692F-E144-B71002F56A85}"/>
          </ac:spMkLst>
        </pc:spChg>
        <pc:spChg chg="add del mod modVis">
          <ac:chgData name="Havel, Ales" userId="90458746-abd6-47aa-b501-72f753e6fc06" providerId="ADAL" clId="{B016B2F7-5743-45C6-8606-BC86FF06B8C6}" dt="2024-02-29T07:57:59.171" v="4651"/>
          <ac:spMkLst>
            <pc:docMk/>
            <pc:sldMk cId="1522876489" sldId="2142532978"/>
            <ac:spMk id="8" creationId="{5AAC84DB-6C64-BBEC-4C35-2D6D792D59EF}"/>
          </ac:spMkLst>
        </pc:spChg>
        <pc:spChg chg="add del mod modVis">
          <ac:chgData name="Havel, Ales" userId="90458746-abd6-47aa-b501-72f753e6fc06" providerId="ADAL" clId="{B016B2F7-5743-45C6-8606-BC86FF06B8C6}" dt="2024-02-29T07:57:59.936" v="4680"/>
          <ac:spMkLst>
            <pc:docMk/>
            <pc:sldMk cId="1522876489" sldId="2142532978"/>
            <ac:spMk id="9" creationId="{0C0C4446-40D3-B494-317A-13AFB58A87F8}"/>
          </ac:spMkLst>
        </pc:spChg>
        <pc:spChg chg="add del mod modVis">
          <ac:chgData name="Havel, Ales" userId="90458746-abd6-47aa-b501-72f753e6fc06" providerId="ADAL" clId="{B016B2F7-5743-45C6-8606-BC86FF06B8C6}" dt="2024-02-29T07:58:03.586" v="4719"/>
          <ac:spMkLst>
            <pc:docMk/>
            <pc:sldMk cId="1522876489" sldId="2142532978"/>
            <ac:spMk id="10" creationId="{FDAD095D-13C0-619F-C05D-C35166C1F496}"/>
          </ac:spMkLst>
        </pc:spChg>
        <pc:spChg chg="add del mod modVis">
          <ac:chgData name="Havel, Ales" userId="90458746-abd6-47aa-b501-72f753e6fc06" providerId="ADAL" clId="{B016B2F7-5743-45C6-8606-BC86FF06B8C6}" dt="2024-02-29T07:58:38.029" v="4747"/>
          <ac:spMkLst>
            <pc:docMk/>
            <pc:sldMk cId="1522876489" sldId="2142532978"/>
            <ac:spMk id="11" creationId="{AD3AFE95-A4F2-9FE5-1AA4-FA34EABDA4D1}"/>
          </ac:spMkLst>
        </pc:spChg>
        <pc:graphicFrameChg chg="add mod ord modVis replST">
          <ac:chgData name="Havel, Ales" userId="90458746-abd6-47aa-b501-72f753e6fc06" providerId="ADAL" clId="{B016B2F7-5743-45C6-8606-BC86FF06B8C6}" dt="2024-02-29T07:58:38.029" v="4749"/>
          <ac:graphicFrameMkLst>
            <pc:docMk/>
            <pc:sldMk cId="1522876489" sldId="2142532978"/>
            <ac:graphicFrameMk id="6" creationId="{11284DD9-D88C-3295-9ADF-F9052DC469A8}"/>
          </ac:graphicFrameMkLst>
        </pc:graphicFrameChg>
        <pc:picChg chg="add mod">
          <ac:chgData name="Havel, Ales" userId="90458746-abd6-47aa-b501-72f753e6fc06" providerId="ADAL" clId="{B016B2F7-5743-45C6-8606-BC86FF06B8C6}" dt="2024-02-29T08:34:13.194" v="5654" actId="1076"/>
          <ac:picMkLst>
            <pc:docMk/>
            <pc:sldMk cId="1522876489" sldId="2142532978"/>
            <ac:picMk id="13" creationId="{56A7A920-F737-6AD0-2474-C5D18D2F1C39}"/>
          </ac:picMkLst>
        </pc:picChg>
        <pc:picChg chg="add mod">
          <ac:chgData name="Havel, Ales" userId="90458746-abd6-47aa-b501-72f753e6fc06" providerId="ADAL" clId="{B016B2F7-5743-45C6-8606-BC86FF06B8C6}" dt="2024-02-29T08:34:15.904" v="5655" actId="1076"/>
          <ac:picMkLst>
            <pc:docMk/>
            <pc:sldMk cId="1522876489" sldId="2142532978"/>
            <ac:picMk id="15" creationId="{227A7EC6-B17D-B248-F531-6B1ED39F7913}"/>
          </ac:picMkLst>
        </pc:picChg>
      </pc:sldChg>
      <pc:sldMasterChg chg="delSldLayout">
        <pc:chgData name="Havel, Ales" userId="90458746-abd6-47aa-b501-72f753e6fc06" providerId="ADAL" clId="{B016B2F7-5743-45C6-8606-BC86FF06B8C6}" dt="2024-02-28T20:56:43.382" v="3520" actId="47"/>
        <pc:sldMasterMkLst>
          <pc:docMk/>
          <pc:sldMasterMk cId="3246290504" sldId="2147483648"/>
        </pc:sldMasterMkLst>
        <pc:sldLayoutChg chg="del">
          <pc:chgData name="Havel, Ales" userId="90458746-abd6-47aa-b501-72f753e6fc06" providerId="ADAL" clId="{B016B2F7-5743-45C6-8606-BC86FF06B8C6}" dt="2024-02-28T20:56:43.382" v="3520" actId="47"/>
          <pc:sldLayoutMkLst>
            <pc:docMk/>
            <pc:sldMasterMk cId="3246290504" sldId="2147483648"/>
            <pc:sldLayoutMk cId="2935471064" sldId="2147483727"/>
          </pc:sldLayoutMkLst>
        </pc:sldLayoutChg>
      </pc:sldMasterChg>
    </pc:docChg>
  </pc:docChgLst>
  <pc:docChgLst>
    <pc:chgData name="Havel, Ales" userId="90458746-abd6-47aa-b501-72f753e6fc06" providerId="ADAL" clId="{A1743AD6-3BF9-4962-A607-EF8DBA75D9FF}"/>
    <pc:docChg chg="modSld">
      <pc:chgData name="Havel, Ales" userId="90458746-abd6-47aa-b501-72f753e6fc06" providerId="ADAL" clId="{A1743AD6-3BF9-4962-A607-EF8DBA75D9FF}" dt="2023-11-28T20:31:44.568" v="1"/>
      <pc:docMkLst>
        <pc:docMk/>
      </pc:docMkLst>
      <pc:sldChg chg="mod modTransition modShow">
        <pc:chgData name="Havel, Ales" userId="90458746-abd6-47aa-b501-72f753e6fc06" providerId="ADAL" clId="{A1743AD6-3BF9-4962-A607-EF8DBA75D9FF}" dt="2023-11-28T20:31:44.568" v="1"/>
        <pc:sldMkLst>
          <pc:docMk/>
          <pc:sldMk cId="2013988379" sldId="2142532962"/>
        </pc:sldMkLst>
      </pc:sldChg>
    </pc:docChg>
  </pc:docChgLst>
  <pc:docChgLst>
    <pc:chgData name="Havel, Ales" userId="90458746-abd6-47aa-b501-72f753e6fc06" providerId="ADAL" clId="{F6734586-6178-4268-8595-7677494027EA}"/>
    <pc:docChg chg="undo custSel addSld delSld modSld sldOrd replTag">
      <pc:chgData name="Havel, Ales" userId="90458746-abd6-47aa-b501-72f753e6fc06" providerId="ADAL" clId="{F6734586-6178-4268-8595-7677494027EA}" dt="2023-09-11T15:37:29.881" v="1198" actId="20577"/>
      <pc:docMkLst>
        <pc:docMk/>
      </pc:docMkLst>
      <pc:sldChg chg="modSp add mod">
        <pc:chgData name="Havel, Ales" userId="90458746-abd6-47aa-b501-72f753e6fc06" providerId="ADAL" clId="{F6734586-6178-4268-8595-7677494027EA}" dt="2023-09-08T12:02:02.510" v="696" actId="242"/>
        <pc:sldMkLst>
          <pc:docMk/>
          <pc:sldMk cId="451271611" sldId="307"/>
        </pc:sldMkLst>
        <pc:graphicFrameChg chg="modGraphic">
          <ac:chgData name="Havel, Ales" userId="90458746-abd6-47aa-b501-72f753e6fc06" providerId="ADAL" clId="{F6734586-6178-4268-8595-7677494027EA}" dt="2023-09-08T12:02:02.510" v="696" actId="242"/>
          <ac:graphicFrameMkLst>
            <pc:docMk/>
            <pc:sldMk cId="451271611" sldId="307"/>
            <ac:graphicFrameMk id="10" creationId="{34049736-1F09-45B4-AF07-042FA4D29859}"/>
          </ac:graphicFrameMkLst>
        </pc:graphicFrameChg>
      </pc:sldChg>
      <pc:sldChg chg="modNotes">
        <pc:chgData name="Havel, Ales" userId="90458746-abd6-47aa-b501-72f753e6fc06" providerId="ADAL" clId="{F6734586-6178-4268-8595-7677494027EA}" dt="2023-09-08T11:48:24.410" v="234"/>
        <pc:sldMkLst>
          <pc:docMk/>
          <pc:sldMk cId="54913606" sldId="353"/>
        </pc:sldMkLst>
      </pc:sldChg>
      <pc:sldChg chg="modNotes">
        <pc:chgData name="Havel, Ales" userId="90458746-abd6-47aa-b501-72f753e6fc06" providerId="ADAL" clId="{F6734586-6178-4268-8595-7677494027EA}" dt="2023-09-08T11:48:24.410" v="234"/>
        <pc:sldMkLst>
          <pc:docMk/>
          <pc:sldMk cId="876703467" sldId="355"/>
        </pc:sldMkLst>
      </pc:sldChg>
      <pc:sldChg chg="modNotes">
        <pc:chgData name="Havel, Ales" userId="90458746-abd6-47aa-b501-72f753e6fc06" providerId="ADAL" clId="{F6734586-6178-4268-8595-7677494027EA}" dt="2023-09-08T11:48:24.410" v="234"/>
        <pc:sldMkLst>
          <pc:docMk/>
          <pc:sldMk cId="2936164416" sldId="359"/>
        </pc:sldMkLst>
      </pc:sldChg>
      <pc:sldChg chg="modNotes">
        <pc:chgData name="Havel, Ales" userId="90458746-abd6-47aa-b501-72f753e6fc06" providerId="ADAL" clId="{F6734586-6178-4268-8595-7677494027EA}" dt="2023-09-08T11:48:24.410" v="234"/>
        <pc:sldMkLst>
          <pc:docMk/>
          <pc:sldMk cId="4070392203" sldId="373"/>
        </pc:sldMkLst>
      </pc:sldChg>
      <pc:sldChg chg="modSp add mod ord">
        <pc:chgData name="Havel, Ales" userId="90458746-abd6-47aa-b501-72f753e6fc06" providerId="ADAL" clId="{F6734586-6178-4268-8595-7677494027EA}" dt="2023-09-11T14:38:11.675" v="771" actId="113"/>
        <pc:sldMkLst>
          <pc:docMk/>
          <pc:sldMk cId="4249644855" sldId="561"/>
        </pc:sldMkLst>
        <pc:spChg chg="mod">
          <ac:chgData name="Havel, Ales" userId="90458746-abd6-47aa-b501-72f753e6fc06" providerId="ADAL" clId="{F6734586-6178-4268-8595-7677494027EA}" dt="2023-09-11T14:38:11.675" v="771" actId="113"/>
          <ac:spMkLst>
            <pc:docMk/>
            <pc:sldMk cId="4249644855" sldId="561"/>
            <ac:spMk id="3" creationId="{C6B6D205-286F-4DF3-A8F7-BF5FD19025CC}"/>
          </ac:spMkLst>
        </pc:spChg>
      </pc:sldChg>
      <pc:sldChg chg="modSp add mod">
        <pc:chgData name="Havel, Ales" userId="90458746-abd6-47aa-b501-72f753e6fc06" providerId="ADAL" clId="{F6734586-6178-4268-8595-7677494027EA}" dt="2023-09-11T14:37:53.463" v="770" actId="20577"/>
        <pc:sldMkLst>
          <pc:docMk/>
          <pc:sldMk cId="2757589718" sldId="1014"/>
        </pc:sldMkLst>
        <pc:spChg chg="mod">
          <ac:chgData name="Havel, Ales" userId="90458746-abd6-47aa-b501-72f753e6fc06" providerId="ADAL" clId="{F6734586-6178-4268-8595-7677494027EA}" dt="2023-09-11T14:37:53.463" v="770" actId="20577"/>
          <ac:spMkLst>
            <pc:docMk/>
            <pc:sldMk cId="2757589718" sldId="1014"/>
            <ac:spMk id="3" creationId="{8A2B8348-6D44-4388-8229-73C146F1CA62}"/>
          </ac:spMkLst>
        </pc:spChg>
      </pc:sldChg>
      <pc:sldChg chg="modSp add mod ord">
        <pc:chgData name="Havel, Ales" userId="90458746-abd6-47aa-b501-72f753e6fc06" providerId="ADAL" clId="{F6734586-6178-4268-8595-7677494027EA}" dt="2023-09-11T14:38:21.444" v="772" actId="113"/>
        <pc:sldMkLst>
          <pc:docMk/>
          <pc:sldMk cId="3952412302" sldId="1015"/>
        </pc:sldMkLst>
        <pc:spChg chg="mod">
          <ac:chgData name="Havel, Ales" userId="90458746-abd6-47aa-b501-72f753e6fc06" providerId="ADAL" clId="{F6734586-6178-4268-8595-7677494027EA}" dt="2023-09-11T14:38:21.444" v="772" actId="113"/>
          <ac:spMkLst>
            <pc:docMk/>
            <pc:sldMk cId="3952412302" sldId="1015"/>
            <ac:spMk id="3" creationId="{C6B6D205-286F-4DF3-A8F7-BF5FD19025CC}"/>
          </ac:spMkLst>
        </pc:spChg>
      </pc:sldChg>
      <pc:sldChg chg="modSp mod">
        <pc:chgData name="Havel, Ales" userId="90458746-abd6-47aa-b501-72f753e6fc06" providerId="ADAL" clId="{F6734586-6178-4268-8595-7677494027EA}" dt="2023-09-08T12:48:53.482" v="752" actId="1076"/>
        <pc:sldMkLst>
          <pc:docMk/>
          <pc:sldMk cId="2125221587" sldId="1093"/>
        </pc:sldMkLst>
        <pc:spChg chg="mod">
          <ac:chgData name="Havel, Ales" userId="90458746-abd6-47aa-b501-72f753e6fc06" providerId="ADAL" clId="{F6734586-6178-4268-8595-7677494027EA}" dt="2023-09-08T12:47:32.153" v="750" actId="1076"/>
          <ac:spMkLst>
            <pc:docMk/>
            <pc:sldMk cId="2125221587" sldId="1093"/>
            <ac:spMk id="13" creationId="{00000000-0000-0000-0000-000000000000}"/>
          </ac:spMkLst>
        </pc:spChg>
        <pc:spChg chg="mod">
          <ac:chgData name="Havel, Ales" userId="90458746-abd6-47aa-b501-72f753e6fc06" providerId="ADAL" clId="{F6734586-6178-4268-8595-7677494027EA}" dt="2023-09-08T12:48:47.986" v="751" actId="1076"/>
          <ac:spMkLst>
            <pc:docMk/>
            <pc:sldMk cId="2125221587" sldId="1093"/>
            <ac:spMk id="21" creationId="{00000000-0000-0000-0000-000000000000}"/>
          </ac:spMkLst>
        </pc:spChg>
        <pc:spChg chg="mod">
          <ac:chgData name="Havel, Ales" userId="90458746-abd6-47aa-b501-72f753e6fc06" providerId="ADAL" clId="{F6734586-6178-4268-8595-7677494027EA}" dt="2023-09-08T12:48:47.986" v="751" actId="1076"/>
          <ac:spMkLst>
            <pc:docMk/>
            <pc:sldMk cId="2125221587" sldId="1093"/>
            <ac:spMk id="22" creationId="{00000000-0000-0000-0000-000000000000}"/>
          </ac:spMkLst>
        </pc:spChg>
        <pc:spChg chg="mod">
          <ac:chgData name="Havel, Ales" userId="90458746-abd6-47aa-b501-72f753e6fc06" providerId="ADAL" clId="{F6734586-6178-4268-8595-7677494027EA}" dt="2023-09-08T12:48:47.986" v="751" actId="1076"/>
          <ac:spMkLst>
            <pc:docMk/>
            <pc:sldMk cId="2125221587" sldId="1093"/>
            <ac:spMk id="23" creationId="{00000000-0000-0000-0000-000000000000}"/>
          </ac:spMkLst>
        </pc:spChg>
        <pc:grpChg chg="mod">
          <ac:chgData name="Havel, Ales" userId="90458746-abd6-47aa-b501-72f753e6fc06" providerId="ADAL" clId="{F6734586-6178-4268-8595-7677494027EA}" dt="2023-09-08T12:48:47.986" v="751" actId="1076"/>
          <ac:grpSpMkLst>
            <pc:docMk/>
            <pc:sldMk cId="2125221587" sldId="1093"/>
            <ac:grpSpMk id="2" creationId="{67934AC0-B648-41EA-A1A6-360F7E8C506C}"/>
          </ac:grpSpMkLst>
        </pc:grpChg>
        <pc:picChg chg="mod">
          <ac:chgData name="Havel, Ales" userId="90458746-abd6-47aa-b501-72f753e6fc06" providerId="ADAL" clId="{F6734586-6178-4268-8595-7677494027EA}" dt="2023-09-08T12:48:47.986" v="751" actId="1076"/>
          <ac:picMkLst>
            <pc:docMk/>
            <pc:sldMk cId="2125221587" sldId="1093"/>
            <ac:picMk id="20" creationId="{00000000-0000-0000-0000-000000000000}"/>
          </ac:picMkLst>
        </pc:picChg>
        <pc:picChg chg="mod">
          <ac:chgData name="Havel, Ales" userId="90458746-abd6-47aa-b501-72f753e6fc06" providerId="ADAL" clId="{F6734586-6178-4268-8595-7677494027EA}" dt="2023-09-08T12:48:53.482" v="752" actId="1076"/>
          <ac:picMkLst>
            <pc:docMk/>
            <pc:sldMk cId="2125221587" sldId="1093"/>
            <ac:picMk id="24" creationId="{00000000-0000-0000-0000-000000000000}"/>
          </ac:picMkLst>
        </pc:picChg>
      </pc:sldChg>
      <pc:sldChg chg="ord">
        <pc:chgData name="Havel, Ales" userId="90458746-abd6-47aa-b501-72f753e6fc06" providerId="ADAL" clId="{F6734586-6178-4268-8595-7677494027EA}" dt="2023-09-11T15:33:02" v="1087"/>
        <pc:sldMkLst>
          <pc:docMk/>
          <pc:sldMk cId="3855815996" sldId="1204"/>
        </pc:sldMkLst>
      </pc:sldChg>
      <pc:sldChg chg="addSp delSp modSp mod">
        <pc:chgData name="Havel, Ales" userId="90458746-abd6-47aa-b501-72f753e6fc06" providerId="ADAL" clId="{F6734586-6178-4268-8595-7677494027EA}" dt="2023-09-08T11:47:17.968" v="233" actId="20577"/>
        <pc:sldMkLst>
          <pc:docMk/>
          <pc:sldMk cId="3420453801" sldId="3214"/>
        </pc:sldMkLst>
        <pc:spChg chg="add del mod modVis">
          <ac:chgData name="Havel, Ales" userId="90458746-abd6-47aa-b501-72f753e6fc06" providerId="ADAL" clId="{F6734586-6178-4268-8595-7677494027EA}" dt="2023-09-08T11:46:47.353" v="44"/>
          <ac:spMkLst>
            <pc:docMk/>
            <pc:sldMk cId="3420453801" sldId="3214"/>
            <ac:spMk id="2" creationId="{CB14A4A0-BDCD-0AEF-9B8D-91D0505A48D3}"/>
          </ac:spMkLst>
        </pc:spChg>
        <pc:spChg chg="mod">
          <ac:chgData name="Havel, Ales" userId="90458746-abd6-47aa-b501-72f753e6fc06" providerId="ADAL" clId="{F6734586-6178-4268-8595-7677494027EA}" dt="2023-09-08T11:46:56.459" v="176" actId="948"/>
          <ac:spMkLst>
            <pc:docMk/>
            <pc:sldMk cId="3420453801" sldId="3214"/>
            <ac:spMk id="3" creationId="{00000000-0000-0000-0000-000000000000}"/>
          </ac:spMkLst>
        </pc:spChg>
        <pc:spChg chg="mod">
          <ac:chgData name="Havel, Ales" userId="90458746-abd6-47aa-b501-72f753e6fc06" providerId="ADAL" clId="{F6734586-6178-4268-8595-7677494027EA}" dt="2023-09-08T11:47:17.968" v="233" actId="20577"/>
          <ac:spMkLst>
            <pc:docMk/>
            <pc:sldMk cId="3420453801" sldId="3214"/>
            <ac:spMk id="4" creationId="{00000000-0000-0000-0000-000000000000}"/>
          </ac:spMkLst>
        </pc:spChg>
        <pc:spChg chg="add del mod modVis">
          <ac:chgData name="Havel, Ales" userId="90458746-abd6-47aa-b501-72f753e6fc06" providerId="ADAL" clId="{F6734586-6178-4268-8595-7677494027EA}" dt="2023-09-08T11:46:50.661" v="77"/>
          <ac:spMkLst>
            <pc:docMk/>
            <pc:sldMk cId="3420453801" sldId="3214"/>
            <ac:spMk id="6" creationId="{407DDD9C-7A97-C6C7-B04D-8A3C4B2F2A7D}"/>
          </ac:spMkLst>
        </pc:spChg>
        <pc:spChg chg="add del mod modVis">
          <ac:chgData name="Havel, Ales" userId="90458746-abd6-47aa-b501-72f753e6fc06" providerId="ADAL" clId="{F6734586-6178-4268-8595-7677494027EA}" dt="2023-09-08T11:46:51.255" v="105"/>
          <ac:spMkLst>
            <pc:docMk/>
            <pc:sldMk cId="3420453801" sldId="3214"/>
            <ac:spMk id="14" creationId="{83B2DC74-10D4-72C8-59D2-7904F913B010}"/>
          </ac:spMkLst>
        </pc:spChg>
        <pc:spChg chg="add del mod modVis">
          <ac:chgData name="Havel, Ales" userId="90458746-abd6-47aa-b501-72f753e6fc06" providerId="ADAL" clId="{F6734586-6178-4268-8595-7677494027EA}" dt="2023-09-08T11:46:53.717" v="144"/>
          <ac:spMkLst>
            <pc:docMk/>
            <pc:sldMk cId="3420453801" sldId="3214"/>
            <ac:spMk id="15" creationId="{48C551A9-127E-4F9D-0A03-B54F4507E566}"/>
          </ac:spMkLst>
        </pc:spChg>
        <pc:spChg chg="add del mod modVis">
          <ac:chgData name="Havel, Ales" userId="90458746-abd6-47aa-b501-72f753e6fc06" providerId="ADAL" clId="{F6734586-6178-4268-8595-7677494027EA}" dt="2023-09-08T11:46:55.511" v="172"/>
          <ac:spMkLst>
            <pc:docMk/>
            <pc:sldMk cId="3420453801" sldId="3214"/>
            <ac:spMk id="16" creationId="{178CD4F7-16FE-4F06-3604-46D355F72427}"/>
          </ac:spMkLst>
        </pc:spChg>
        <pc:spChg chg="add del mod modVis">
          <ac:chgData name="Havel, Ales" userId="90458746-abd6-47aa-b501-72f753e6fc06" providerId="ADAL" clId="{F6734586-6178-4268-8595-7677494027EA}" dt="2023-09-08T11:46:56.479" v="200"/>
          <ac:spMkLst>
            <pc:docMk/>
            <pc:sldMk cId="3420453801" sldId="3214"/>
            <ac:spMk id="17" creationId="{55CEB798-9190-7887-2DDF-4734FD46FBBC}"/>
          </ac:spMkLst>
        </pc:spChg>
        <pc:graphicFrameChg chg="mod">
          <ac:chgData name="Havel, Ales" userId="90458746-abd6-47aa-b501-72f753e6fc06" providerId="ADAL" clId="{F6734586-6178-4268-8595-7677494027EA}" dt="2023-09-08T11:46:56.483" v="202"/>
          <ac:graphicFrameMkLst>
            <pc:docMk/>
            <pc:sldMk cId="3420453801" sldId="3214"/>
            <ac:graphicFrameMk id="5" creationId="{C7CDF03A-24F9-41EE-84CF-00A4861115F2}"/>
          </ac:graphicFrameMkLst>
        </pc:graphicFrameChg>
      </pc:sldChg>
      <pc:sldChg chg="del">
        <pc:chgData name="Havel, Ales" userId="90458746-abd6-47aa-b501-72f753e6fc06" providerId="ADAL" clId="{F6734586-6178-4268-8595-7677494027EA}" dt="2023-09-08T12:46:34.993" v="743" actId="47"/>
        <pc:sldMkLst>
          <pc:docMk/>
          <pc:sldMk cId="3190166494" sldId="7104"/>
        </pc:sldMkLst>
      </pc:sldChg>
      <pc:sldChg chg="del">
        <pc:chgData name="Havel, Ales" userId="90458746-abd6-47aa-b501-72f753e6fc06" providerId="ADAL" clId="{F6734586-6178-4268-8595-7677494027EA}" dt="2023-09-08T12:46:28.209" v="741" actId="47"/>
        <pc:sldMkLst>
          <pc:docMk/>
          <pc:sldMk cId="2393389864" sldId="7105"/>
        </pc:sldMkLst>
      </pc:sldChg>
      <pc:sldChg chg="del">
        <pc:chgData name="Havel, Ales" userId="90458746-abd6-47aa-b501-72f753e6fc06" providerId="ADAL" clId="{F6734586-6178-4268-8595-7677494027EA}" dt="2023-09-08T12:46:32.069" v="742" actId="47"/>
        <pc:sldMkLst>
          <pc:docMk/>
          <pc:sldMk cId="1155306426" sldId="7106"/>
        </pc:sldMkLst>
      </pc:sldChg>
      <pc:sldChg chg="addSp delSp modSp add mod">
        <pc:chgData name="Havel, Ales" userId="90458746-abd6-47aa-b501-72f753e6fc06" providerId="ADAL" clId="{F6734586-6178-4268-8595-7677494027EA}" dt="2023-09-11T15:37:29.881" v="1198" actId="20577"/>
        <pc:sldMkLst>
          <pc:docMk/>
          <pc:sldMk cId="1527721594" sldId="2076138261"/>
        </pc:sldMkLst>
        <pc:spChg chg="mod">
          <ac:chgData name="Havel, Ales" userId="90458746-abd6-47aa-b501-72f753e6fc06" providerId="ADAL" clId="{F6734586-6178-4268-8595-7677494027EA}" dt="2023-09-11T15:37:29.881" v="1198" actId="20577"/>
          <ac:spMkLst>
            <pc:docMk/>
            <pc:sldMk cId="1527721594" sldId="2076138261"/>
            <ac:spMk id="2" creationId="{484089CC-DD28-4538-A4C1-A4AC3E160CF9}"/>
          </ac:spMkLst>
        </pc:spChg>
        <pc:spChg chg="del mod">
          <ac:chgData name="Havel, Ales" userId="90458746-abd6-47aa-b501-72f753e6fc06" providerId="ADAL" clId="{F6734586-6178-4268-8595-7677494027EA}" dt="2023-09-11T15:30:12.101" v="1063" actId="478"/>
          <ac:spMkLst>
            <pc:docMk/>
            <pc:sldMk cId="1527721594" sldId="2076138261"/>
            <ac:spMk id="4" creationId="{59EA81F8-C273-4C10-B47F-8DC8A6229866}"/>
          </ac:spMkLst>
        </pc:spChg>
        <pc:spChg chg="mod">
          <ac:chgData name="Havel, Ales" userId="90458746-abd6-47aa-b501-72f753e6fc06" providerId="ADAL" clId="{F6734586-6178-4268-8595-7677494027EA}" dt="2023-09-11T15:30:00.700" v="1051" actId="6549"/>
          <ac:spMkLst>
            <pc:docMk/>
            <pc:sldMk cId="1527721594" sldId="2076138261"/>
            <ac:spMk id="5" creationId="{E1958810-474B-4940-9F12-86C302235F30}"/>
          </ac:spMkLst>
        </pc:spChg>
        <pc:spChg chg="add del mod">
          <ac:chgData name="Havel, Ales" userId="90458746-abd6-47aa-b501-72f753e6fc06" providerId="ADAL" clId="{F6734586-6178-4268-8595-7677494027EA}" dt="2023-09-11T15:30:13.810" v="1064" actId="478"/>
          <ac:spMkLst>
            <pc:docMk/>
            <pc:sldMk cId="1527721594" sldId="2076138261"/>
            <ac:spMk id="15" creationId="{5AE99CB6-B9C8-1687-4B07-45C38759C21A}"/>
          </ac:spMkLst>
        </pc:spChg>
        <pc:grpChg chg="mod">
          <ac:chgData name="Havel, Ales" userId="90458746-abd6-47aa-b501-72f753e6fc06" providerId="ADAL" clId="{F6734586-6178-4268-8595-7677494027EA}" dt="2023-09-11T15:30:35.047" v="1071" actId="14100"/>
          <ac:grpSpMkLst>
            <pc:docMk/>
            <pc:sldMk cId="1527721594" sldId="2076138261"/>
            <ac:grpSpMk id="7" creationId="{7EAEB55C-CFBF-4D06-B4D2-F18FE65C1D1A}"/>
          </ac:grpSpMkLst>
        </pc:grpChg>
        <pc:grpChg chg="del">
          <ac:chgData name="Havel, Ales" userId="90458746-abd6-47aa-b501-72f753e6fc06" providerId="ADAL" clId="{F6734586-6178-4268-8595-7677494027EA}" dt="2023-09-11T15:30:08.698" v="1061" actId="478"/>
          <ac:grpSpMkLst>
            <pc:docMk/>
            <pc:sldMk cId="1527721594" sldId="2076138261"/>
            <ac:grpSpMk id="10" creationId="{6440465A-E311-41FA-A340-54913983FAC0}"/>
          </ac:grpSpMkLst>
        </pc:grpChg>
        <pc:graphicFrameChg chg="mod">
          <ac:chgData name="Havel, Ales" userId="90458746-abd6-47aa-b501-72f753e6fc06" providerId="ADAL" clId="{F6734586-6178-4268-8595-7677494027EA}" dt="2023-09-11T15:30:01.219" v="1055"/>
          <ac:graphicFrameMkLst>
            <pc:docMk/>
            <pc:sldMk cId="1527721594" sldId="2076138261"/>
            <ac:graphicFrameMk id="6" creationId="{AD8833E7-90EF-4F49-8921-E0A05BF4CACB}"/>
          </ac:graphicFrameMkLst>
        </pc:graphicFrameChg>
        <pc:picChg chg="del">
          <ac:chgData name="Havel, Ales" userId="90458746-abd6-47aa-b501-72f753e6fc06" providerId="ADAL" clId="{F6734586-6178-4268-8595-7677494027EA}" dt="2023-09-11T15:30:14.913" v="1065" actId="478"/>
          <ac:picMkLst>
            <pc:docMk/>
            <pc:sldMk cId="1527721594" sldId="2076138261"/>
            <ac:picMk id="14" creationId="{4C7379FF-62B7-7BA8-CA18-CD723B2C82EA}"/>
          </ac:picMkLst>
        </pc:picChg>
        <pc:picChg chg="del">
          <ac:chgData name="Havel, Ales" userId="90458746-abd6-47aa-b501-72f753e6fc06" providerId="ADAL" clId="{F6734586-6178-4268-8595-7677494027EA}" dt="2023-09-11T15:30:15.441" v="1066" actId="478"/>
          <ac:picMkLst>
            <pc:docMk/>
            <pc:sldMk cId="1527721594" sldId="2076138261"/>
            <ac:picMk id="16" creationId="{39F578C9-BA33-A98F-2B5D-6489717A3277}"/>
          </ac:picMkLst>
        </pc:picChg>
        <pc:picChg chg="mod">
          <ac:chgData name="Havel, Ales" userId="90458746-abd6-47aa-b501-72f753e6fc06" providerId="ADAL" clId="{F6734586-6178-4268-8595-7677494027EA}" dt="2023-09-11T15:30:28.739" v="1070" actId="1076"/>
          <ac:picMkLst>
            <pc:docMk/>
            <pc:sldMk cId="1527721594" sldId="2076138261"/>
            <ac:picMk id="20" creationId="{2D2E8249-94A4-2CAD-67FF-1260D31F010A}"/>
          </ac:picMkLst>
        </pc:picChg>
        <pc:picChg chg="mod">
          <ac:chgData name="Havel, Ales" userId="90458746-abd6-47aa-b501-72f753e6fc06" providerId="ADAL" clId="{F6734586-6178-4268-8595-7677494027EA}" dt="2023-09-11T15:30:25.604" v="1069" actId="1076"/>
          <ac:picMkLst>
            <pc:docMk/>
            <pc:sldMk cId="1527721594" sldId="2076138261"/>
            <ac:picMk id="22" creationId="{266E68FF-21F0-39BE-E888-150681009E9B}"/>
          </ac:picMkLst>
        </pc:picChg>
      </pc:sldChg>
      <pc:sldChg chg="modSp add mod">
        <pc:chgData name="Havel, Ales" userId="90458746-abd6-47aa-b501-72f753e6fc06" providerId="ADAL" clId="{F6734586-6178-4268-8595-7677494027EA}" dt="2023-09-08T12:02:12.053" v="697" actId="242"/>
        <pc:sldMkLst>
          <pc:docMk/>
          <pc:sldMk cId="3102873236" sldId="2142532958"/>
        </pc:sldMkLst>
        <pc:graphicFrameChg chg="modGraphic">
          <ac:chgData name="Havel, Ales" userId="90458746-abd6-47aa-b501-72f753e6fc06" providerId="ADAL" clId="{F6734586-6178-4268-8595-7677494027EA}" dt="2023-09-08T12:02:12.053" v="697" actId="242"/>
          <ac:graphicFrameMkLst>
            <pc:docMk/>
            <pc:sldMk cId="3102873236" sldId="2142532958"/>
            <ac:graphicFrameMk id="10" creationId="{34049736-1F09-45B4-AF07-042FA4D29859}"/>
          </ac:graphicFrameMkLst>
        </pc:graphicFrameChg>
      </pc:sldChg>
      <pc:sldChg chg="modSp add mod">
        <pc:chgData name="Havel, Ales" userId="90458746-abd6-47aa-b501-72f753e6fc06" providerId="ADAL" clId="{F6734586-6178-4268-8595-7677494027EA}" dt="2023-09-08T12:06:00.042" v="732" actId="2084"/>
        <pc:sldMkLst>
          <pc:docMk/>
          <pc:sldMk cId="3837482461" sldId="2142532959"/>
        </pc:sldMkLst>
        <pc:graphicFrameChg chg="modGraphic">
          <ac:chgData name="Havel, Ales" userId="90458746-abd6-47aa-b501-72f753e6fc06" providerId="ADAL" clId="{F6734586-6178-4268-8595-7677494027EA}" dt="2023-09-08T12:06:00.042" v="732" actId="2084"/>
          <ac:graphicFrameMkLst>
            <pc:docMk/>
            <pc:sldMk cId="3837482461" sldId="2142532959"/>
            <ac:graphicFrameMk id="10" creationId="{34049736-1F09-45B4-AF07-042FA4D29859}"/>
          </ac:graphicFrameMkLst>
        </pc:graphicFrameChg>
      </pc:sldChg>
      <pc:sldChg chg="modSp add mod">
        <pc:chgData name="Havel, Ales" userId="90458746-abd6-47aa-b501-72f753e6fc06" providerId="ADAL" clId="{F6734586-6178-4268-8595-7677494027EA}" dt="2023-09-08T12:05:52.400" v="731" actId="2084"/>
        <pc:sldMkLst>
          <pc:docMk/>
          <pc:sldMk cId="4181540978" sldId="2142532960"/>
        </pc:sldMkLst>
        <pc:graphicFrameChg chg="modGraphic">
          <ac:chgData name="Havel, Ales" userId="90458746-abd6-47aa-b501-72f753e6fc06" providerId="ADAL" clId="{F6734586-6178-4268-8595-7677494027EA}" dt="2023-09-08T12:05:52.400" v="731" actId="2084"/>
          <ac:graphicFrameMkLst>
            <pc:docMk/>
            <pc:sldMk cId="4181540978" sldId="2142532960"/>
            <ac:graphicFrameMk id="10" creationId="{34049736-1F09-45B4-AF07-042FA4D29859}"/>
          </ac:graphicFrameMkLst>
        </pc:graphicFrameChg>
      </pc:sldChg>
      <pc:sldChg chg="modSp add mod">
        <pc:chgData name="Havel, Ales" userId="90458746-abd6-47aa-b501-72f753e6fc06" providerId="ADAL" clId="{F6734586-6178-4268-8595-7677494027EA}" dt="2023-09-08T12:05:26.074" v="728" actId="2084"/>
        <pc:sldMkLst>
          <pc:docMk/>
          <pc:sldMk cId="3572482811" sldId="2142532961"/>
        </pc:sldMkLst>
        <pc:graphicFrameChg chg="modGraphic">
          <ac:chgData name="Havel, Ales" userId="90458746-abd6-47aa-b501-72f753e6fc06" providerId="ADAL" clId="{F6734586-6178-4268-8595-7677494027EA}" dt="2023-09-08T12:05:26.074" v="728" actId="2084"/>
          <ac:graphicFrameMkLst>
            <pc:docMk/>
            <pc:sldMk cId="3572482811" sldId="2142532961"/>
            <ac:graphicFrameMk id="10" creationId="{34049736-1F09-45B4-AF07-042FA4D29859}"/>
          </ac:graphicFrameMkLst>
        </pc:graphicFrameChg>
      </pc:sldChg>
      <pc:sldChg chg="modSp add mod">
        <pc:chgData name="Havel, Ales" userId="90458746-abd6-47aa-b501-72f753e6fc06" providerId="ADAL" clId="{F6734586-6178-4268-8595-7677494027EA}" dt="2023-09-08T12:05:12.640" v="725" actId="2084"/>
        <pc:sldMkLst>
          <pc:docMk/>
          <pc:sldMk cId="2013988379" sldId="2142532962"/>
        </pc:sldMkLst>
        <pc:graphicFrameChg chg="modGraphic">
          <ac:chgData name="Havel, Ales" userId="90458746-abd6-47aa-b501-72f753e6fc06" providerId="ADAL" clId="{F6734586-6178-4268-8595-7677494027EA}" dt="2023-09-08T12:05:12.640" v="725" actId="2084"/>
          <ac:graphicFrameMkLst>
            <pc:docMk/>
            <pc:sldMk cId="2013988379" sldId="2142532962"/>
            <ac:graphicFrameMk id="10" creationId="{34049736-1F09-45B4-AF07-042FA4D29859}"/>
          </ac:graphicFrameMkLst>
        </pc:graphicFrameChg>
      </pc:sldChg>
      <pc:sldChg chg="modSp add mod">
        <pc:chgData name="Havel, Ales" userId="90458746-abd6-47aa-b501-72f753e6fc06" providerId="ADAL" clId="{F6734586-6178-4268-8595-7677494027EA}" dt="2023-09-08T12:04:58.730" v="722" actId="2084"/>
        <pc:sldMkLst>
          <pc:docMk/>
          <pc:sldMk cId="965635708" sldId="2142532963"/>
        </pc:sldMkLst>
        <pc:graphicFrameChg chg="modGraphic">
          <ac:chgData name="Havel, Ales" userId="90458746-abd6-47aa-b501-72f753e6fc06" providerId="ADAL" clId="{F6734586-6178-4268-8595-7677494027EA}" dt="2023-09-08T12:04:58.730" v="722" actId="2084"/>
          <ac:graphicFrameMkLst>
            <pc:docMk/>
            <pc:sldMk cId="965635708" sldId="2142532963"/>
            <ac:graphicFrameMk id="10" creationId="{34049736-1F09-45B4-AF07-042FA4D29859}"/>
          </ac:graphicFrameMkLst>
        </pc:graphicFrameChg>
      </pc:sldChg>
      <pc:sldChg chg="modSp add mod">
        <pc:chgData name="Havel, Ales" userId="90458746-abd6-47aa-b501-72f753e6fc06" providerId="ADAL" clId="{F6734586-6178-4268-8595-7677494027EA}" dt="2023-09-08T12:04:39.147" v="718" actId="2084"/>
        <pc:sldMkLst>
          <pc:docMk/>
          <pc:sldMk cId="3898864256" sldId="2142532964"/>
        </pc:sldMkLst>
        <pc:graphicFrameChg chg="modGraphic">
          <ac:chgData name="Havel, Ales" userId="90458746-abd6-47aa-b501-72f753e6fc06" providerId="ADAL" clId="{F6734586-6178-4268-8595-7677494027EA}" dt="2023-09-08T12:04:39.147" v="718" actId="2084"/>
          <ac:graphicFrameMkLst>
            <pc:docMk/>
            <pc:sldMk cId="3898864256" sldId="2142532964"/>
            <ac:graphicFrameMk id="10" creationId="{34049736-1F09-45B4-AF07-042FA4D29859}"/>
          </ac:graphicFrameMkLst>
        </pc:graphicFrameChg>
      </pc:sldChg>
      <pc:sldChg chg="addSp delSp modSp new add mod ord">
        <pc:chgData name="Havel, Ales" userId="90458746-abd6-47aa-b501-72f753e6fc06" providerId="ADAL" clId="{F6734586-6178-4268-8595-7677494027EA}" dt="2023-09-11T15:03:12.183" v="795"/>
        <pc:sldMkLst>
          <pc:docMk/>
          <pc:sldMk cId="3869609718" sldId="2142532965"/>
        </pc:sldMkLst>
        <pc:spChg chg="mod">
          <ac:chgData name="Havel, Ales" userId="90458746-abd6-47aa-b501-72f753e6fc06" providerId="ADAL" clId="{F6734586-6178-4268-8595-7677494027EA}" dt="2023-09-11T14:55:20.209" v="780" actId="20577"/>
          <ac:spMkLst>
            <pc:docMk/>
            <pc:sldMk cId="3869609718" sldId="2142532965"/>
            <ac:spMk id="4" creationId="{961F8045-DDDB-7BFE-93CC-2D1E7BE46CE3}"/>
          </ac:spMkLst>
        </pc:spChg>
        <pc:spChg chg="del">
          <ac:chgData name="Havel, Ales" userId="90458746-abd6-47aa-b501-72f753e6fc06" providerId="ADAL" clId="{F6734586-6178-4268-8595-7677494027EA}" dt="2023-09-11T14:56:05.568" v="781"/>
          <ac:spMkLst>
            <pc:docMk/>
            <pc:sldMk cId="3869609718" sldId="2142532965"/>
            <ac:spMk id="5" creationId="{71C68EE9-25F6-3A6D-C30C-72365B7D921A}"/>
          </ac:spMkLst>
        </pc:spChg>
        <pc:picChg chg="add mod">
          <ac:chgData name="Havel, Ales" userId="90458746-abd6-47aa-b501-72f753e6fc06" providerId="ADAL" clId="{F6734586-6178-4268-8595-7677494027EA}" dt="2023-09-11T15:01:58.364" v="792" actId="1076"/>
          <ac:picMkLst>
            <pc:docMk/>
            <pc:sldMk cId="3869609718" sldId="2142532965"/>
            <ac:picMk id="8" creationId="{9E479400-077D-F429-8739-9CFEBE136086}"/>
          </ac:picMkLst>
        </pc:picChg>
        <pc:picChg chg="add mod">
          <ac:chgData name="Havel, Ales" userId="90458746-abd6-47aa-b501-72f753e6fc06" providerId="ADAL" clId="{F6734586-6178-4268-8595-7677494027EA}" dt="2023-09-11T15:02:01.004" v="793" actId="1076"/>
          <ac:picMkLst>
            <pc:docMk/>
            <pc:sldMk cId="3869609718" sldId="2142532965"/>
            <ac:picMk id="10" creationId="{93075967-1F86-1834-DD64-8EA029379B8E}"/>
          </ac:picMkLst>
        </pc:picChg>
      </pc:sldChg>
      <pc:sldChg chg="addSp delSp modSp new add mod">
        <pc:chgData name="Havel, Ales" userId="90458746-abd6-47aa-b501-72f753e6fc06" providerId="ADAL" clId="{F6734586-6178-4268-8595-7677494027EA}" dt="2023-09-11T15:29:27.738" v="1048" actId="20577"/>
        <pc:sldMkLst>
          <pc:docMk/>
          <pc:sldMk cId="2444137382" sldId="2142532966"/>
        </pc:sldMkLst>
        <pc:spChg chg="del">
          <ac:chgData name="Havel, Ales" userId="90458746-abd6-47aa-b501-72f753e6fc06" providerId="ADAL" clId="{F6734586-6178-4268-8595-7677494027EA}" dt="2023-09-11T15:12:38.479" v="810" actId="478"/>
          <ac:spMkLst>
            <pc:docMk/>
            <pc:sldMk cId="2444137382" sldId="2142532966"/>
            <ac:spMk id="2" creationId="{D4478E42-89E5-B0F0-BABC-AFA96FDD4279}"/>
          </ac:spMkLst>
        </pc:spChg>
        <pc:spChg chg="mod">
          <ac:chgData name="Havel, Ales" userId="90458746-abd6-47aa-b501-72f753e6fc06" providerId="ADAL" clId="{F6734586-6178-4268-8595-7677494027EA}" dt="2023-09-11T15:29:27.738" v="1048" actId="20577"/>
          <ac:spMkLst>
            <pc:docMk/>
            <pc:sldMk cId="2444137382" sldId="2142532966"/>
            <ac:spMk id="5" creationId="{D1C0FE62-46E3-4C52-1CB7-21161096FF39}"/>
          </ac:spMkLst>
        </pc:spChg>
        <pc:spChg chg="del">
          <ac:chgData name="Havel, Ales" userId="90458746-abd6-47aa-b501-72f753e6fc06" providerId="ADAL" clId="{F6734586-6178-4268-8595-7677494027EA}" dt="2023-09-11T15:10:53.630" v="798"/>
          <ac:spMkLst>
            <pc:docMk/>
            <pc:sldMk cId="2444137382" sldId="2142532966"/>
            <ac:spMk id="6" creationId="{2BA9F813-B0B2-8369-538C-F5C00E763FDD}"/>
          </ac:spMkLst>
        </pc:spChg>
        <pc:spChg chg="del mod">
          <ac:chgData name="Havel, Ales" userId="90458746-abd6-47aa-b501-72f753e6fc06" providerId="ADAL" clId="{F6734586-6178-4268-8595-7677494027EA}" dt="2023-09-11T15:27:03.979" v="942" actId="478"/>
          <ac:spMkLst>
            <pc:docMk/>
            <pc:sldMk cId="2444137382" sldId="2142532966"/>
            <ac:spMk id="7" creationId="{4883251C-FFD8-99AD-3D92-6B06B251FD77}"/>
          </ac:spMkLst>
        </pc:spChg>
        <pc:picChg chg="add mod modCrop">
          <ac:chgData name="Havel, Ales" userId="90458746-abd6-47aa-b501-72f753e6fc06" providerId="ADAL" clId="{F6734586-6178-4268-8595-7677494027EA}" dt="2023-09-11T15:28:02.818" v="1030" actId="732"/>
          <ac:picMkLst>
            <pc:docMk/>
            <pc:sldMk cId="2444137382" sldId="2142532966"/>
            <ac:picMk id="10" creationId="{C3C14683-0241-4EBD-ED2D-DD329C1BD883}"/>
          </ac:picMkLst>
        </pc:picChg>
        <pc:picChg chg="add mod">
          <ac:chgData name="Havel, Ales" userId="90458746-abd6-47aa-b501-72f753e6fc06" providerId="ADAL" clId="{F6734586-6178-4268-8595-7677494027EA}" dt="2023-09-11T15:13:22.479" v="821" actId="1076"/>
          <ac:picMkLst>
            <pc:docMk/>
            <pc:sldMk cId="2444137382" sldId="2142532966"/>
            <ac:picMk id="12" creationId="{5538802B-0839-E2EB-FE41-BEA5792BC315}"/>
          </ac:picMkLst>
        </pc:picChg>
        <pc:picChg chg="add mod">
          <ac:chgData name="Havel, Ales" userId="90458746-abd6-47aa-b501-72f753e6fc06" providerId="ADAL" clId="{F6734586-6178-4268-8595-7677494027EA}" dt="2023-09-11T15:13:17.020" v="819" actId="14100"/>
          <ac:picMkLst>
            <pc:docMk/>
            <pc:sldMk cId="2444137382" sldId="2142532966"/>
            <ac:picMk id="14" creationId="{5AEE6422-C373-9E3E-058A-26A018B3DD0D}"/>
          </ac:picMkLst>
        </pc:picChg>
      </pc:sldChg>
      <pc:sldChg chg="addSp delSp modSp add mod">
        <pc:chgData name="Havel, Ales" userId="90458746-abd6-47aa-b501-72f753e6fc06" providerId="ADAL" clId="{F6734586-6178-4268-8595-7677494027EA}" dt="2023-09-11T15:31:25.732" v="1085" actId="1076"/>
        <pc:sldMkLst>
          <pc:docMk/>
          <pc:sldMk cId="3002113024" sldId="2142532967"/>
        </pc:sldMkLst>
        <pc:spChg chg="del">
          <ac:chgData name="Havel, Ales" userId="90458746-abd6-47aa-b501-72f753e6fc06" providerId="ADAL" clId="{F6734586-6178-4268-8595-7677494027EA}" dt="2023-09-11T15:30:48.595" v="1074" actId="478"/>
          <ac:spMkLst>
            <pc:docMk/>
            <pc:sldMk cId="3002113024" sldId="2142532967"/>
            <ac:spMk id="2" creationId="{484089CC-DD28-4538-A4C1-A4AC3E160CF9}"/>
          </ac:spMkLst>
        </pc:spChg>
        <pc:spChg chg="mod">
          <ac:chgData name="Havel, Ales" userId="90458746-abd6-47aa-b501-72f753e6fc06" providerId="ADAL" clId="{F6734586-6178-4268-8595-7677494027EA}" dt="2023-09-11T15:31:03.528" v="1078" actId="1076"/>
          <ac:spMkLst>
            <pc:docMk/>
            <pc:sldMk cId="3002113024" sldId="2142532967"/>
            <ac:spMk id="4" creationId="{59EA81F8-C273-4C10-B47F-8DC8A6229866}"/>
          </ac:spMkLst>
        </pc:spChg>
        <pc:spChg chg="mod">
          <ac:chgData name="Havel, Ales" userId="90458746-abd6-47aa-b501-72f753e6fc06" providerId="ADAL" clId="{F6734586-6178-4268-8595-7677494027EA}" dt="2023-09-11T15:30:03.047" v="1056" actId="6549"/>
          <ac:spMkLst>
            <pc:docMk/>
            <pc:sldMk cId="3002113024" sldId="2142532967"/>
            <ac:spMk id="5" creationId="{E1958810-474B-4940-9F12-86C302235F30}"/>
          </ac:spMkLst>
        </pc:spChg>
        <pc:spChg chg="add del mod">
          <ac:chgData name="Havel, Ales" userId="90458746-abd6-47aa-b501-72f753e6fc06" providerId="ADAL" clId="{F6734586-6178-4268-8595-7677494027EA}" dt="2023-09-11T15:30:55.755" v="1077" actId="478"/>
          <ac:spMkLst>
            <pc:docMk/>
            <pc:sldMk cId="3002113024" sldId="2142532967"/>
            <ac:spMk id="15" creationId="{FDBF1E76-D5C5-742F-C481-B610B439F466}"/>
          </ac:spMkLst>
        </pc:spChg>
        <pc:grpChg chg="del">
          <ac:chgData name="Havel, Ales" userId="90458746-abd6-47aa-b501-72f753e6fc06" providerId="ADAL" clId="{F6734586-6178-4268-8595-7677494027EA}" dt="2023-09-11T15:30:42.505" v="1072" actId="478"/>
          <ac:grpSpMkLst>
            <pc:docMk/>
            <pc:sldMk cId="3002113024" sldId="2142532967"/>
            <ac:grpSpMk id="7" creationId="{7EAEB55C-CFBF-4D06-B4D2-F18FE65C1D1A}"/>
          </ac:grpSpMkLst>
        </pc:grpChg>
        <pc:grpChg chg="mod">
          <ac:chgData name="Havel, Ales" userId="90458746-abd6-47aa-b501-72f753e6fc06" providerId="ADAL" clId="{F6734586-6178-4268-8595-7677494027EA}" dt="2023-09-11T15:31:17.903" v="1082" actId="14100"/>
          <ac:grpSpMkLst>
            <pc:docMk/>
            <pc:sldMk cId="3002113024" sldId="2142532967"/>
            <ac:grpSpMk id="10" creationId="{6440465A-E311-41FA-A340-54913983FAC0}"/>
          </ac:grpSpMkLst>
        </pc:grpChg>
        <pc:graphicFrameChg chg="mod">
          <ac:chgData name="Havel, Ales" userId="90458746-abd6-47aa-b501-72f753e6fc06" providerId="ADAL" clId="{F6734586-6178-4268-8595-7677494027EA}" dt="2023-09-11T15:30:03.556" v="1060"/>
          <ac:graphicFrameMkLst>
            <pc:docMk/>
            <pc:sldMk cId="3002113024" sldId="2142532967"/>
            <ac:graphicFrameMk id="6" creationId="{AD8833E7-90EF-4F49-8921-E0A05BF4CACB}"/>
          </ac:graphicFrameMkLst>
        </pc:graphicFrameChg>
        <pc:picChg chg="mod">
          <ac:chgData name="Havel, Ales" userId="90458746-abd6-47aa-b501-72f753e6fc06" providerId="ADAL" clId="{F6734586-6178-4268-8595-7677494027EA}" dt="2023-09-11T15:31:25.732" v="1085" actId="1076"/>
          <ac:picMkLst>
            <pc:docMk/>
            <pc:sldMk cId="3002113024" sldId="2142532967"/>
            <ac:picMk id="14" creationId="{4C7379FF-62B7-7BA8-CA18-CD723B2C82EA}"/>
          </ac:picMkLst>
        </pc:picChg>
        <pc:picChg chg="mod">
          <ac:chgData name="Havel, Ales" userId="90458746-abd6-47aa-b501-72f753e6fc06" providerId="ADAL" clId="{F6734586-6178-4268-8595-7677494027EA}" dt="2023-09-11T15:31:23.527" v="1084" actId="1076"/>
          <ac:picMkLst>
            <pc:docMk/>
            <pc:sldMk cId="3002113024" sldId="2142532967"/>
            <ac:picMk id="16" creationId="{39F578C9-BA33-A98F-2B5D-6489717A3277}"/>
          </ac:picMkLst>
        </pc:picChg>
        <pc:picChg chg="del">
          <ac:chgData name="Havel, Ales" userId="90458746-abd6-47aa-b501-72f753e6fc06" providerId="ADAL" clId="{F6734586-6178-4268-8595-7677494027EA}" dt="2023-09-11T15:30:53.905" v="1076" actId="478"/>
          <ac:picMkLst>
            <pc:docMk/>
            <pc:sldMk cId="3002113024" sldId="2142532967"/>
            <ac:picMk id="20" creationId="{2D2E8249-94A4-2CAD-67FF-1260D31F010A}"/>
          </ac:picMkLst>
        </pc:picChg>
        <pc:picChg chg="del">
          <ac:chgData name="Havel, Ales" userId="90458746-abd6-47aa-b501-72f753e6fc06" providerId="ADAL" clId="{F6734586-6178-4268-8595-7677494027EA}" dt="2023-09-11T15:30:52.666" v="1075" actId="478"/>
          <ac:picMkLst>
            <pc:docMk/>
            <pc:sldMk cId="3002113024" sldId="2142532967"/>
            <ac:picMk id="22" creationId="{266E68FF-21F0-39BE-E888-150681009E9B}"/>
          </ac:picMkLst>
        </pc:picChg>
      </pc:sldChg>
    </pc:docChg>
  </pc:docChgLst>
  <pc:docChgLst>
    <pc:chgData name="Havel, Ales" userId="90458746-abd6-47aa-b501-72f753e6fc06" providerId="ADAL" clId="{0733EE07-567B-43AB-AC8E-8C253CE6FAD1}"/>
    <pc:docChg chg="undo custSel addSld modSld replTag">
      <pc:chgData name="Havel, Ales" userId="90458746-abd6-47aa-b501-72f753e6fc06" providerId="ADAL" clId="{0733EE07-567B-43AB-AC8E-8C253CE6FAD1}" dt="2023-10-09T08:54:42.216" v="1331" actId="14100"/>
      <pc:docMkLst>
        <pc:docMk/>
      </pc:docMkLst>
      <pc:sldChg chg="modSp mod">
        <pc:chgData name="Havel, Ales" userId="90458746-abd6-47aa-b501-72f753e6fc06" providerId="ADAL" clId="{0733EE07-567B-43AB-AC8E-8C253CE6FAD1}" dt="2023-10-09T08:07:44.718" v="7" actId="20577"/>
        <pc:sldMkLst>
          <pc:docMk/>
          <pc:sldMk cId="451271611" sldId="307"/>
        </pc:sldMkLst>
        <pc:graphicFrameChg chg="modGraphic">
          <ac:chgData name="Havel, Ales" userId="90458746-abd6-47aa-b501-72f753e6fc06" providerId="ADAL" clId="{0733EE07-567B-43AB-AC8E-8C253CE6FAD1}" dt="2023-10-09T08:07:44.718" v="7" actId="20577"/>
          <ac:graphicFrameMkLst>
            <pc:docMk/>
            <pc:sldMk cId="451271611" sldId="307"/>
            <ac:graphicFrameMk id="10" creationId="{34049736-1F09-45B4-AF07-042FA4D29859}"/>
          </ac:graphicFrameMkLst>
        </pc:graphicFrameChg>
      </pc:sldChg>
      <pc:sldChg chg="addSp delSp modSp add mod">
        <pc:chgData name="Havel, Ales" userId="90458746-abd6-47aa-b501-72f753e6fc06" providerId="ADAL" clId="{0733EE07-567B-43AB-AC8E-8C253CE6FAD1}" dt="2023-10-09T08:54:42.216" v="1331" actId="14100"/>
        <pc:sldMkLst>
          <pc:docMk/>
          <pc:sldMk cId="2410120141" sldId="904"/>
        </pc:sldMkLst>
        <pc:spChg chg="mod">
          <ac:chgData name="Havel, Ales" userId="90458746-abd6-47aa-b501-72f753e6fc06" providerId="ADAL" clId="{0733EE07-567B-43AB-AC8E-8C253CE6FAD1}" dt="2023-10-09T08:13:52.193" v="354" actId="404"/>
          <ac:spMkLst>
            <pc:docMk/>
            <pc:sldMk cId="2410120141" sldId="904"/>
            <ac:spMk id="5" creationId="{DB6A2088-430F-0F64-900D-B7DE0AABC011}"/>
          </ac:spMkLst>
        </pc:spChg>
        <pc:spChg chg="mod">
          <ac:chgData name="Havel, Ales" userId="90458746-abd6-47aa-b501-72f753e6fc06" providerId="ADAL" clId="{0733EE07-567B-43AB-AC8E-8C253CE6FAD1}" dt="2023-10-09T08:11:27.090" v="17"/>
          <ac:spMkLst>
            <pc:docMk/>
            <pc:sldMk cId="2410120141" sldId="904"/>
            <ac:spMk id="9" creationId="{AD86E638-C2B2-D54E-C65F-BF4BA339E7CD}"/>
          </ac:spMkLst>
        </pc:spChg>
        <pc:spChg chg="mod ord">
          <ac:chgData name="Havel, Ales" userId="90458746-abd6-47aa-b501-72f753e6fc06" providerId="ADAL" clId="{0733EE07-567B-43AB-AC8E-8C253CE6FAD1}" dt="2023-10-09T08:51:25.758" v="1126"/>
          <ac:spMkLst>
            <pc:docMk/>
            <pc:sldMk cId="2410120141" sldId="904"/>
            <ac:spMk id="10" creationId="{00000000-0000-0000-0000-000000000000}"/>
          </ac:spMkLst>
        </pc:spChg>
        <pc:spChg chg="mod">
          <ac:chgData name="Havel, Ales" userId="90458746-abd6-47aa-b501-72f753e6fc06" providerId="ADAL" clId="{0733EE07-567B-43AB-AC8E-8C253CE6FAD1}" dt="2023-10-09T08:14:20.015" v="395" actId="404"/>
          <ac:spMkLst>
            <pc:docMk/>
            <pc:sldMk cId="2410120141" sldId="904"/>
            <ac:spMk id="12" creationId="{F9FCC480-8257-BB93-FB95-F1859B06E8B3}"/>
          </ac:spMkLst>
        </pc:spChg>
        <pc:spChg chg="mod">
          <ac:chgData name="Havel, Ales" userId="90458746-abd6-47aa-b501-72f753e6fc06" providerId="ADAL" clId="{0733EE07-567B-43AB-AC8E-8C253CE6FAD1}" dt="2023-10-09T08:11:50.107" v="22"/>
          <ac:spMkLst>
            <pc:docMk/>
            <pc:sldMk cId="2410120141" sldId="904"/>
            <ac:spMk id="13" creationId="{8CC90058-789E-3821-5B9F-DA516F8E8D02}"/>
          </ac:spMkLst>
        </pc:spChg>
        <pc:spChg chg="add del mod modVis">
          <ac:chgData name="Havel, Ales" userId="90458746-abd6-47aa-b501-72f753e6fc06" providerId="ADAL" clId="{0733EE07-567B-43AB-AC8E-8C253CE6FAD1}" dt="2023-10-09T08:12:08.197" v="59"/>
          <ac:spMkLst>
            <pc:docMk/>
            <pc:sldMk cId="2410120141" sldId="904"/>
            <ac:spMk id="14" creationId="{D0BFB269-3CB8-E9F6-72C5-143BA10D4E4F}"/>
          </ac:spMkLst>
        </pc:spChg>
        <pc:spChg chg="add del mod modVis">
          <ac:chgData name="Havel, Ales" userId="90458746-abd6-47aa-b501-72f753e6fc06" providerId="ADAL" clId="{0733EE07-567B-43AB-AC8E-8C253CE6FAD1}" dt="2023-10-09T08:12:09.004" v="101"/>
          <ac:spMkLst>
            <pc:docMk/>
            <pc:sldMk cId="2410120141" sldId="904"/>
            <ac:spMk id="16" creationId="{3B666E74-3DC3-BC05-AE8B-9DB30291C64E}"/>
          </ac:spMkLst>
        </pc:spChg>
        <pc:spChg chg="add del mod modVis">
          <ac:chgData name="Havel, Ales" userId="90458746-abd6-47aa-b501-72f753e6fc06" providerId="ADAL" clId="{0733EE07-567B-43AB-AC8E-8C253CE6FAD1}" dt="2023-10-09T08:12:09.270" v="130"/>
          <ac:spMkLst>
            <pc:docMk/>
            <pc:sldMk cId="2410120141" sldId="904"/>
            <ac:spMk id="17" creationId="{54DCD3E6-9813-09D8-D15D-4D4B7C5E655B}"/>
          </ac:spMkLst>
        </pc:spChg>
        <pc:spChg chg="add del mod modVis">
          <ac:chgData name="Havel, Ales" userId="90458746-abd6-47aa-b501-72f753e6fc06" providerId="ADAL" clId="{0733EE07-567B-43AB-AC8E-8C253CE6FAD1}" dt="2023-10-09T08:12:09.938" v="158"/>
          <ac:spMkLst>
            <pc:docMk/>
            <pc:sldMk cId="2410120141" sldId="904"/>
            <ac:spMk id="18" creationId="{AABDA151-FDA6-92F9-D9CD-52A2D0701312}"/>
          </ac:spMkLst>
        </pc:spChg>
        <pc:spChg chg="add del mod modVis">
          <ac:chgData name="Havel, Ales" userId="90458746-abd6-47aa-b501-72f753e6fc06" providerId="ADAL" clId="{0733EE07-567B-43AB-AC8E-8C253CE6FAD1}" dt="2023-10-09T08:12:10.870" v="188"/>
          <ac:spMkLst>
            <pc:docMk/>
            <pc:sldMk cId="2410120141" sldId="904"/>
            <ac:spMk id="19" creationId="{D127AA07-3379-27AF-9FAE-21BC63C9F9B2}"/>
          </ac:spMkLst>
        </pc:spChg>
        <pc:spChg chg="add del mod modVis">
          <ac:chgData name="Havel, Ales" userId="90458746-abd6-47aa-b501-72f753e6fc06" providerId="ADAL" clId="{0733EE07-567B-43AB-AC8E-8C253CE6FAD1}" dt="2023-10-09T08:12:14.364" v="226"/>
          <ac:spMkLst>
            <pc:docMk/>
            <pc:sldMk cId="2410120141" sldId="904"/>
            <ac:spMk id="20" creationId="{4C434FC8-9F91-92B1-E7D0-73BED9CE634C}"/>
          </ac:spMkLst>
        </pc:spChg>
        <pc:spChg chg="add del mod modVis">
          <ac:chgData name="Havel, Ales" userId="90458746-abd6-47aa-b501-72f753e6fc06" providerId="ADAL" clId="{0733EE07-567B-43AB-AC8E-8C253CE6FAD1}" dt="2023-10-09T08:12:17.111" v="263"/>
          <ac:spMkLst>
            <pc:docMk/>
            <pc:sldMk cId="2410120141" sldId="904"/>
            <ac:spMk id="21" creationId="{FD058D5D-B2D3-CBBB-6A4D-7EFED4EAF254}"/>
          </ac:spMkLst>
        </pc:spChg>
        <pc:spChg chg="add del mod modVis">
          <ac:chgData name="Havel, Ales" userId="90458746-abd6-47aa-b501-72f753e6fc06" providerId="ADAL" clId="{0733EE07-567B-43AB-AC8E-8C253CE6FAD1}" dt="2023-10-09T08:12:18.345" v="291"/>
          <ac:spMkLst>
            <pc:docMk/>
            <pc:sldMk cId="2410120141" sldId="904"/>
            <ac:spMk id="22" creationId="{3A1B999B-2442-C926-A2E5-563B3AAE61F0}"/>
          </ac:spMkLst>
        </pc:spChg>
        <pc:spChg chg="add del mod modVis">
          <ac:chgData name="Havel, Ales" userId="90458746-abd6-47aa-b501-72f753e6fc06" providerId="ADAL" clId="{0733EE07-567B-43AB-AC8E-8C253CE6FAD1}" dt="2023-10-09T08:12:18.997" v="319"/>
          <ac:spMkLst>
            <pc:docMk/>
            <pc:sldMk cId="2410120141" sldId="904"/>
            <ac:spMk id="23" creationId="{71F5B6DA-7A69-2A47-6CDE-FD8846D0C98F}"/>
          </ac:spMkLst>
        </pc:spChg>
        <pc:spChg chg="add mod ord">
          <ac:chgData name="Havel, Ales" userId="90458746-abd6-47aa-b501-72f753e6fc06" providerId="ADAL" clId="{0733EE07-567B-43AB-AC8E-8C253CE6FAD1}" dt="2023-10-09T08:54:04.099" v="1329" actId="14100"/>
          <ac:spMkLst>
            <pc:docMk/>
            <pc:sldMk cId="2410120141" sldId="904"/>
            <ac:spMk id="24" creationId="{D20C4D00-5C16-D6EC-E89B-28A0B15A704E}"/>
          </ac:spMkLst>
        </pc:spChg>
        <pc:spChg chg="add mod ord">
          <ac:chgData name="Havel, Ales" userId="90458746-abd6-47aa-b501-72f753e6fc06" providerId="ADAL" clId="{0733EE07-567B-43AB-AC8E-8C253CE6FAD1}" dt="2023-10-09T08:51:25.760" v="1136"/>
          <ac:spMkLst>
            <pc:docMk/>
            <pc:sldMk cId="2410120141" sldId="904"/>
            <ac:spMk id="25" creationId="{AA37B4FC-7172-A52B-D0C6-D643961714B7}"/>
          </ac:spMkLst>
        </pc:spChg>
        <pc:spChg chg="add mod ord">
          <ac:chgData name="Havel, Ales" userId="90458746-abd6-47aa-b501-72f753e6fc06" providerId="ADAL" clId="{0733EE07-567B-43AB-AC8E-8C253CE6FAD1}" dt="2023-10-09T08:54:36.410" v="1330" actId="14100"/>
          <ac:spMkLst>
            <pc:docMk/>
            <pc:sldMk cId="2410120141" sldId="904"/>
            <ac:spMk id="26" creationId="{514DE262-CB69-85E5-F8D9-0480A04DADE8}"/>
          </ac:spMkLst>
        </pc:spChg>
        <pc:spChg chg="add mod ord">
          <ac:chgData name="Havel, Ales" userId="90458746-abd6-47aa-b501-72f753e6fc06" providerId="ADAL" clId="{0733EE07-567B-43AB-AC8E-8C253CE6FAD1}" dt="2023-10-09T08:54:42.216" v="1331" actId="14100"/>
          <ac:spMkLst>
            <pc:docMk/>
            <pc:sldMk cId="2410120141" sldId="904"/>
            <ac:spMk id="27" creationId="{843CA98C-210A-AF10-382A-C7F8B56EFF33}"/>
          </ac:spMkLst>
        </pc:spChg>
        <pc:spChg chg="add del mod modVis">
          <ac:chgData name="Havel, Ales" userId="90458746-abd6-47aa-b501-72f753e6fc06" providerId="ADAL" clId="{0733EE07-567B-43AB-AC8E-8C253CE6FAD1}" dt="2023-10-09T08:51:21.280" v="1113"/>
          <ac:spMkLst>
            <pc:docMk/>
            <pc:sldMk cId="2410120141" sldId="904"/>
            <ac:spMk id="28" creationId="{2717C2BA-61C0-DB0A-9C83-E89790E1FF22}"/>
          </ac:spMkLst>
        </pc:spChg>
        <pc:spChg chg="mod ord">
          <ac:chgData name="Havel, Ales" userId="90458746-abd6-47aa-b501-72f753e6fc06" providerId="ADAL" clId="{0733EE07-567B-43AB-AC8E-8C253CE6FAD1}" dt="2023-10-09T08:51:25.758" v="1122"/>
          <ac:spMkLst>
            <pc:docMk/>
            <pc:sldMk cId="2410120141" sldId="904"/>
            <ac:spMk id="31" creationId="{00000000-0000-0000-0000-000000000000}"/>
          </ac:spMkLst>
        </pc:spChg>
        <pc:grpChg chg="add mod ord">
          <ac:chgData name="Havel, Ales" userId="90458746-abd6-47aa-b501-72f753e6fc06" providerId="ADAL" clId="{0733EE07-567B-43AB-AC8E-8C253CE6FAD1}" dt="2023-10-09T08:51:25.759" v="1130"/>
          <ac:grpSpMkLst>
            <pc:docMk/>
            <pc:sldMk cId="2410120141" sldId="904"/>
            <ac:grpSpMk id="4" creationId="{B3BC7471-AA57-C038-4C0A-52E70ACEA2BD}"/>
          </ac:grpSpMkLst>
        </pc:grpChg>
        <pc:grpChg chg="del">
          <ac:chgData name="Havel, Ales" userId="90458746-abd6-47aa-b501-72f753e6fc06" providerId="ADAL" clId="{0733EE07-567B-43AB-AC8E-8C253CE6FAD1}" dt="2023-10-09T08:10:44.430" v="9" actId="478"/>
          <ac:grpSpMkLst>
            <pc:docMk/>
            <pc:sldMk cId="2410120141" sldId="904"/>
            <ac:grpSpMk id="6" creationId="{5AC0E903-638C-40FE-AEE9-D1F2FBBAB527}"/>
          </ac:grpSpMkLst>
        </pc:grpChg>
        <pc:grpChg chg="add mod ord">
          <ac:chgData name="Havel, Ales" userId="90458746-abd6-47aa-b501-72f753e6fc06" providerId="ADAL" clId="{0733EE07-567B-43AB-AC8E-8C253CE6FAD1}" dt="2023-10-09T08:51:25.759" v="1132"/>
          <ac:grpSpMkLst>
            <pc:docMk/>
            <pc:sldMk cId="2410120141" sldId="904"/>
            <ac:grpSpMk id="11" creationId="{2BD1362A-A743-80CB-ACBF-30258D4B6B16}"/>
          </ac:grpSpMkLst>
        </pc:grpChg>
        <pc:graphicFrameChg chg="add mod ord modVis replST">
          <ac:chgData name="Havel, Ales" userId="90458746-abd6-47aa-b501-72f753e6fc06" providerId="ADAL" clId="{0733EE07-567B-43AB-AC8E-8C253CE6FAD1}" dt="2023-10-09T08:51:25.763" v="1140"/>
          <ac:graphicFrameMkLst>
            <pc:docMk/>
            <pc:sldMk cId="2410120141" sldId="904"/>
            <ac:graphicFrameMk id="15" creationId="{C1089713-BE50-9975-1CF5-CA142137713E}"/>
          </ac:graphicFrameMkLst>
        </pc:graphicFrameChg>
        <pc:picChg chg="mod ord">
          <ac:chgData name="Havel, Ales" userId="90458746-abd6-47aa-b501-72f753e6fc06" providerId="ADAL" clId="{0733EE07-567B-43AB-AC8E-8C253CE6FAD1}" dt="2023-10-09T08:52:09.234" v="1233" actId="1076"/>
          <ac:picMkLst>
            <pc:docMk/>
            <pc:sldMk cId="2410120141" sldId="904"/>
            <ac:picMk id="2" creationId="{0358814C-AD55-4558-9D62-E76697D3C915}"/>
          </ac:picMkLst>
        </pc:picChg>
        <pc:picChg chg="mod ord">
          <ac:chgData name="Havel, Ales" userId="90458746-abd6-47aa-b501-72f753e6fc06" providerId="ADAL" clId="{0733EE07-567B-43AB-AC8E-8C253CE6FAD1}" dt="2023-10-09T08:52:14.260" v="1234" actId="1076"/>
          <ac:picMkLst>
            <pc:docMk/>
            <pc:sldMk cId="2410120141" sldId="904"/>
            <ac:picMk id="3" creationId="{B429A51E-C7CA-4E0B-9B28-7A7010E9A5DC}"/>
          </ac:picMkLst>
        </pc:picChg>
      </pc:sldChg>
    </pc:docChg>
  </pc:docChgLst>
  <pc:docChgLst>
    <pc:chgData name="Havel, Ales" userId="90458746-abd6-47aa-b501-72f753e6fc06" providerId="ADAL" clId="{30FE5C80-B651-4234-AC16-1D017B0A8739}"/>
    <pc:docChg chg="undo custSel modSld sldOrd">
      <pc:chgData name="Havel, Ales" userId="90458746-abd6-47aa-b501-72f753e6fc06" providerId="ADAL" clId="{30FE5C80-B651-4234-AC16-1D017B0A8739}" dt="2024-01-22T20:04:00.117" v="7" actId="20578"/>
      <pc:docMkLst>
        <pc:docMk/>
      </pc:docMkLst>
      <pc:sldChg chg="ord">
        <pc:chgData name="Havel, Ales" userId="90458746-abd6-47aa-b501-72f753e6fc06" providerId="ADAL" clId="{30FE5C80-B651-4234-AC16-1D017B0A8739}" dt="2024-01-22T20:04:00.117" v="7" actId="20578"/>
        <pc:sldMkLst>
          <pc:docMk/>
          <pc:sldMk cId="3855815996" sldId="1204"/>
        </pc:sldMkLst>
      </pc:sldChg>
      <pc:sldChg chg="addSp modSp mod">
        <pc:chgData name="Havel, Ales" userId="90458746-abd6-47aa-b501-72f753e6fc06" providerId="ADAL" clId="{30FE5C80-B651-4234-AC16-1D017B0A8739}" dt="2024-01-03T13:38:47.105" v="4" actId="1076"/>
        <pc:sldMkLst>
          <pc:docMk/>
          <pc:sldMk cId="3261214605" sldId="2142532974"/>
        </pc:sldMkLst>
        <pc:spChg chg="add mod">
          <ac:chgData name="Havel, Ales" userId="90458746-abd6-47aa-b501-72f753e6fc06" providerId="ADAL" clId="{30FE5C80-B651-4234-AC16-1D017B0A8739}" dt="2024-01-03T13:38:31.070" v="0"/>
          <ac:spMkLst>
            <pc:docMk/>
            <pc:sldMk cId="3261214605" sldId="2142532974"/>
            <ac:spMk id="6" creationId="{524C80ED-296B-1A35-428E-C65695DCCE6E}"/>
          </ac:spMkLst>
        </pc:spChg>
        <pc:spChg chg="mod">
          <ac:chgData name="Havel, Ales" userId="90458746-abd6-47aa-b501-72f753e6fc06" providerId="ADAL" clId="{30FE5C80-B651-4234-AC16-1D017B0A8739}" dt="2024-01-03T13:38:39.372" v="2" actId="1076"/>
          <ac:spMkLst>
            <pc:docMk/>
            <pc:sldMk cId="3261214605" sldId="2142532974"/>
            <ac:spMk id="18" creationId="{A938DC46-1FA7-9309-65FE-3A4139E414BA}"/>
          </ac:spMkLst>
        </pc:spChg>
        <pc:spChg chg="mod">
          <ac:chgData name="Havel, Ales" userId="90458746-abd6-47aa-b501-72f753e6fc06" providerId="ADAL" clId="{30FE5C80-B651-4234-AC16-1D017B0A8739}" dt="2024-01-03T13:38:47.105" v="4" actId="1076"/>
          <ac:spMkLst>
            <pc:docMk/>
            <pc:sldMk cId="3261214605" sldId="2142532974"/>
            <ac:spMk id="20" creationId="{5F87F0AD-DA75-137E-D44A-BDFEFB6F8587}"/>
          </ac:spMkLst>
        </pc:spChg>
        <pc:picChg chg="add mod">
          <ac:chgData name="Havel, Ales" userId="90458746-abd6-47aa-b501-72f753e6fc06" providerId="ADAL" clId="{30FE5C80-B651-4234-AC16-1D017B0A8739}" dt="2024-01-03T13:38:31.070" v="0"/>
          <ac:picMkLst>
            <pc:docMk/>
            <pc:sldMk cId="3261214605" sldId="2142532974"/>
            <ac:picMk id="3" creationId="{FFA5810B-33A0-DAC6-5CD8-A06AC2184041}"/>
          </ac:picMkLst>
        </pc:picChg>
        <pc:cxnChg chg="mod">
          <ac:chgData name="Havel, Ales" userId="90458746-abd6-47aa-b501-72f753e6fc06" providerId="ADAL" clId="{30FE5C80-B651-4234-AC16-1D017B0A8739}" dt="2024-01-03T13:38:36.674" v="1" actId="14100"/>
          <ac:cxnSpMkLst>
            <pc:docMk/>
            <pc:sldMk cId="3261214605" sldId="2142532974"/>
            <ac:cxnSpMk id="17" creationId="{B144F97E-B81C-D6BA-016A-01E01C1EBB9A}"/>
          </ac:cxnSpMkLst>
        </pc:cxnChg>
        <pc:cxnChg chg="mod">
          <ac:chgData name="Havel, Ales" userId="90458746-abd6-47aa-b501-72f753e6fc06" providerId="ADAL" clId="{30FE5C80-B651-4234-AC16-1D017B0A8739}" dt="2024-01-03T13:38:42.720" v="3" actId="14100"/>
          <ac:cxnSpMkLst>
            <pc:docMk/>
            <pc:sldMk cId="3261214605" sldId="2142532974"/>
            <ac:cxnSpMk id="19" creationId="{47333CF7-72FD-ECE8-3419-19E80F1D9DB9}"/>
          </ac:cxnSpMkLst>
        </pc:cxnChg>
      </pc:sldChg>
    </pc:docChg>
  </pc:docChgLst>
  <pc:docChgLst>
    <pc:chgData name="Havel, Ales" userId="90458746-abd6-47aa-b501-72f753e6fc06" providerId="ADAL" clId="{8033C13B-5730-4681-B370-C71D286C10BC}"/>
    <pc:docChg chg="custSel addSld delSld modSld sldOrd replTag">
      <pc:chgData name="Havel, Ales" userId="90458746-abd6-47aa-b501-72f753e6fc06" providerId="ADAL" clId="{8033C13B-5730-4681-B370-C71D286C10BC}" dt="2024-03-26T09:23:34.148" v="891" actId="20577"/>
      <pc:docMkLst>
        <pc:docMk/>
      </pc:docMkLst>
      <pc:sldChg chg="del">
        <pc:chgData name="Havel, Ales" userId="90458746-abd6-47aa-b501-72f753e6fc06" providerId="ADAL" clId="{8033C13B-5730-4681-B370-C71D286C10BC}" dt="2024-03-26T09:14:42.182" v="7" actId="47"/>
        <pc:sldMkLst>
          <pc:docMk/>
          <pc:sldMk cId="1652819287" sldId="276"/>
        </pc:sldMkLst>
      </pc:sldChg>
      <pc:sldChg chg="del">
        <pc:chgData name="Havel, Ales" userId="90458746-abd6-47aa-b501-72f753e6fc06" providerId="ADAL" clId="{8033C13B-5730-4681-B370-C71D286C10BC}" dt="2024-03-26T09:14:27.492" v="4" actId="47"/>
        <pc:sldMkLst>
          <pc:docMk/>
          <pc:sldMk cId="2600679964" sldId="350"/>
        </pc:sldMkLst>
      </pc:sldChg>
      <pc:sldChg chg="del">
        <pc:chgData name="Havel, Ales" userId="90458746-abd6-47aa-b501-72f753e6fc06" providerId="ADAL" clId="{8033C13B-5730-4681-B370-C71D286C10BC}" dt="2024-03-26T09:14:44.108" v="8" actId="47"/>
        <pc:sldMkLst>
          <pc:docMk/>
          <pc:sldMk cId="2648859295" sldId="1133"/>
        </pc:sldMkLst>
      </pc:sldChg>
      <pc:sldChg chg="del">
        <pc:chgData name="Havel, Ales" userId="90458746-abd6-47aa-b501-72f753e6fc06" providerId="ADAL" clId="{8033C13B-5730-4681-B370-C71D286C10BC}" dt="2024-03-26T09:13:59.373" v="0" actId="47"/>
        <pc:sldMkLst>
          <pc:docMk/>
          <pc:sldMk cId="3855815996" sldId="1204"/>
        </pc:sldMkLst>
      </pc:sldChg>
      <pc:sldChg chg="addSp delSp modSp mod">
        <pc:chgData name="Havel, Ales" userId="90458746-abd6-47aa-b501-72f753e6fc06" providerId="ADAL" clId="{8033C13B-5730-4681-B370-C71D286C10BC}" dt="2024-03-26T09:23:34.148" v="891" actId="20577"/>
        <pc:sldMkLst>
          <pc:docMk/>
          <pc:sldMk cId="3420453801" sldId="3214"/>
        </pc:sldMkLst>
        <pc:spChg chg="add del mod modVis">
          <ac:chgData name="Havel, Ales" userId="90458746-abd6-47aa-b501-72f753e6fc06" providerId="ADAL" clId="{8033C13B-5730-4681-B370-C71D286C10BC}" dt="2024-03-26T09:22:15.185" v="723"/>
          <ac:spMkLst>
            <pc:docMk/>
            <pc:sldMk cId="3420453801" sldId="3214"/>
            <ac:spMk id="2" creationId="{AF0DE13C-B324-EC9A-E5B2-ECBA40840B95}"/>
          </ac:spMkLst>
        </pc:spChg>
        <pc:spChg chg="mod">
          <ac:chgData name="Havel, Ales" userId="90458746-abd6-47aa-b501-72f753e6fc06" providerId="ADAL" clId="{8033C13B-5730-4681-B370-C71D286C10BC}" dt="2024-03-26T09:22:19.756" v="820" actId="948"/>
          <ac:spMkLst>
            <pc:docMk/>
            <pc:sldMk cId="3420453801" sldId="3214"/>
            <ac:spMk id="3" creationId="{00000000-0000-0000-0000-000000000000}"/>
          </ac:spMkLst>
        </pc:spChg>
        <pc:spChg chg="mod">
          <ac:chgData name="Havel, Ales" userId="90458746-abd6-47aa-b501-72f753e6fc06" providerId="ADAL" clId="{8033C13B-5730-4681-B370-C71D286C10BC}" dt="2024-03-26T09:23:34.148" v="891" actId="20577"/>
          <ac:spMkLst>
            <pc:docMk/>
            <pc:sldMk cId="3420453801" sldId="3214"/>
            <ac:spMk id="4" creationId="{00000000-0000-0000-0000-000000000000}"/>
          </ac:spMkLst>
        </pc:spChg>
        <pc:spChg chg="add del mod modVis">
          <ac:chgData name="Havel, Ales" userId="90458746-abd6-47aa-b501-72f753e6fc06" providerId="ADAL" clId="{8033C13B-5730-4681-B370-C71D286C10BC}" dt="2024-03-26T09:22:16.095" v="753"/>
          <ac:spMkLst>
            <pc:docMk/>
            <pc:sldMk cId="3420453801" sldId="3214"/>
            <ac:spMk id="6" creationId="{043CC007-2D41-B67D-B7C8-E5840D441366}"/>
          </ac:spMkLst>
        </pc:spChg>
        <pc:spChg chg="add del mod modVis">
          <ac:chgData name="Havel, Ales" userId="90458746-abd6-47aa-b501-72f753e6fc06" providerId="ADAL" clId="{8033C13B-5730-4681-B370-C71D286C10BC}" dt="2024-03-26T09:22:16.888" v="781"/>
          <ac:spMkLst>
            <pc:docMk/>
            <pc:sldMk cId="3420453801" sldId="3214"/>
            <ac:spMk id="14" creationId="{F69CF2D9-1549-060D-D655-3C0C244E29DA}"/>
          </ac:spMkLst>
        </pc:spChg>
        <pc:spChg chg="add del mod modVis">
          <ac:chgData name="Havel, Ales" userId="90458746-abd6-47aa-b501-72f753e6fc06" providerId="ADAL" clId="{8033C13B-5730-4681-B370-C71D286C10BC}" dt="2024-03-26T09:22:18.142" v="813"/>
          <ac:spMkLst>
            <pc:docMk/>
            <pc:sldMk cId="3420453801" sldId="3214"/>
            <ac:spMk id="15" creationId="{2C092A87-F936-AD84-C4E0-47154A5C4B1A}"/>
          </ac:spMkLst>
        </pc:spChg>
        <pc:spChg chg="add del mod modVis">
          <ac:chgData name="Havel, Ales" userId="90458746-abd6-47aa-b501-72f753e6fc06" providerId="ADAL" clId="{8033C13B-5730-4681-B370-C71D286C10BC}" dt="2024-03-26T09:22:19.811" v="844"/>
          <ac:spMkLst>
            <pc:docMk/>
            <pc:sldMk cId="3420453801" sldId="3214"/>
            <ac:spMk id="16" creationId="{DA391759-4680-7698-1DF3-60F6B6B3AA38}"/>
          </ac:spMkLst>
        </pc:spChg>
        <pc:graphicFrameChg chg="mod">
          <ac:chgData name="Havel, Ales" userId="90458746-abd6-47aa-b501-72f753e6fc06" providerId="ADAL" clId="{8033C13B-5730-4681-B370-C71D286C10BC}" dt="2024-03-26T09:22:19.816" v="846"/>
          <ac:graphicFrameMkLst>
            <pc:docMk/>
            <pc:sldMk cId="3420453801" sldId="3214"/>
            <ac:graphicFrameMk id="5" creationId="{C7CDF03A-24F9-41EE-84CF-00A4861115F2}"/>
          </ac:graphicFrameMkLst>
        </pc:graphicFrameChg>
      </pc:sldChg>
      <pc:sldChg chg="del">
        <pc:chgData name="Havel, Ales" userId="90458746-abd6-47aa-b501-72f753e6fc06" providerId="ADAL" clId="{8033C13B-5730-4681-B370-C71D286C10BC}" dt="2024-03-26T09:14:45.377" v="9" actId="47"/>
        <pc:sldMkLst>
          <pc:docMk/>
          <pc:sldMk cId="1230206025" sldId="7375"/>
        </pc:sldMkLst>
      </pc:sldChg>
      <pc:sldChg chg="del">
        <pc:chgData name="Havel, Ales" userId="90458746-abd6-47aa-b501-72f753e6fc06" providerId="ADAL" clId="{8033C13B-5730-4681-B370-C71D286C10BC}" dt="2024-03-26T09:14:24.898" v="3" actId="47"/>
        <pc:sldMkLst>
          <pc:docMk/>
          <pc:sldMk cId="3869609718" sldId="2142532965"/>
        </pc:sldMkLst>
      </pc:sldChg>
      <pc:sldChg chg="del">
        <pc:chgData name="Havel, Ales" userId="90458746-abd6-47aa-b501-72f753e6fc06" providerId="ADAL" clId="{8033C13B-5730-4681-B370-C71D286C10BC}" dt="2024-03-26T09:14:33.906" v="5" actId="47"/>
        <pc:sldMkLst>
          <pc:docMk/>
          <pc:sldMk cId="3002113024" sldId="2142532967"/>
        </pc:sldMkLst>
      </pc:sldChg>
      <pc:sldChg chg="del">
        <pc:chgData name="Havel, Ales" userId="90458746-abd6-47aa-b501-72f753e6fc06" providerId="ADAL" clId="{8033C13B-5730-4681-B370-C71D286C10BC}" dt="2024-03-26T09:14:35.427" v="6" actId="47"/>
        <pc:sldMkLst>
          <pc:docMk/>
          <pc:sldMk cId="1326820663" sldId="2142532970"/>
        </pc:sldMkLst>
      </pc:sldChg>
      <pc:sldChg chg="delSp modSp add mod">
        <pc:chgData name="Havel, Ales" userId="90458746-abd6-47aa-b501-72f753e6fc06" providerId="ADAL" clId="{8033C13B-5730-4681-B370-C71D286C10BC}" dt="2024-03-26T09:21:35.911" v="685" actId="1076"/>
        <pc:sldMkLst>
          <pc:docMk/>
          <pc:sldMk cId="357712108" sldId="2142532973"/>
        </pc:sldMkLst>
        <pc:spChg chg="del mod">
          <ac:chgData name="Havel, Ales" userId="90458746-abd6-47aa-b501-72f753e6fc06" providerId="ADAL" clId="{8033C13B-5730-4681-B370-C71D286C10BC}" dt="2024-03-26T09:20:35.351" v="674" actId="478"/>
          <ac:spMkLst>
            <pc:docMk/>
            <pc:sldMk cId="357712108" sldId="2142532973"/>
            <ac:spMk id="18" creationId="{00000000-0000-0000-0000-000000000000}"/>
          </ac:spMkLst>
        </pc:spChg>
        <pc:spChg chg="del mod">
          <ac:chgData name="Havel, Ales" userId="90458746-abd6-47aa-b501-72f753e6fc06" providerId="ADAL" clId="{8033C13B-5730-4681-B370-C71D286C10BC}" dt="2024-03-26T09:20:37.958" v="675" actId="478"/>
          <ac:spMkLst>
            <pc:docMk/>
            <pc:sldMk cId="357712108" sldId="2142532973"/>
            <ac:spMk id="20" creationId="{00000000-0000-0000-0000-000000000000}"/>
          </ac:spMkLst>
        </pc:spChg>
        <pc:spChg chg="del mod">
          <ac:chgData name="Havel, Ales" userId="90458746-abd6-47aa-b501-72f753e6fc06" providerId="ADAL" clId="{8033C13B-5730-4681-B370-C71D286C10BC}" dt="2024-03-26T09:20:43.832" v="677" actId="478"/>
          <ac:spMkLst>
            <pc:docMk/>
            <pc:sldMk cId="357712108" sldId="2142532973"/>
            <ac:spMk id="21" creationId="{00000000-0000-0000-0000-000000000000}"/>
          </ac:spMkLst>
        </pc:spChg>
        <pc:grpChg chg="mod">
          <ac:chgData name="Havel, Ales" userId="90458746-abd6-47aa-b501-72f753e6fc06" providerId="ADAL" clId="{8033C13B-5730-4681-B370-C71D286C10BC}" dt="2024-03-26T09:21:29.130" v="683" actId="1076"/>
          <ac:grpSpMkLst>
            <pc:docMk/>
            <pc:sldMk cId="357712108" sldId="2142532973"/>
            <ac:grpSpMk id="2" creationId="{0623986E-8E74-49A9-8762-54A0BBAD9444}"/>
          </ac:grpSpMkLst>
        </pc:grpChg>
        <pc:picChg chg="mod">
          <ac:chgData name="Havel, Ales" userId="90458746-abd6-47aa-b501-72f753e6fc06" providerId="ADAL" clId="{8033C13B-5730-4681-B370-C71D286C10BC}" dt="2024-03-26T09:21:35.911" v="685" actId="1076"/>
          <ac:picMkLst>
            <pc:docMk/>
            <pc:sldMk cId="357712108" sldId="2142532973"/>
            <ac:picMk id="6" creationId="{349192A1-9EF3-5EB4-EE20-9861FDC36FF9}"/>
          </ac:picMkLst>
        </pc:picChg>
        <pc:picChg chg="del">
          <ac:chgData name="Havel, Ales" userId="90458746-abd6-47aa-b501-72f753e6fc06" providerId="ADAL" clId="{8033C13B-5730-4681-B370-C71D286C10BC}" dt="2024-03-26T09:20:48.292" v="678" actId="478"/>
          <ac:picMkLst>
            <pc:docMk/>
            <pc:sldMk cId="357712108" sldId="2142532973"/>
            <ac:picMk id="8" creationId="{50DDD81E-B581-5B2B-CE57-8B04DAC5ABA0}"/>
          </ac:picMkLst>
        </pc:picChg>
        <pc:picChg chg="del">
          <ac:chgData name="Havel, Ales" userId="90458746-abd6-47aa-b501-72f753e6fc06" providerId="ADAL" clId="{8033C13B-5730-4681-B370-C71D286C10BC}" dt="2024-03-26T09:20:29.108" v="672" actId="478"/>
          <ac:picMkLst>
            <pc:docMk/>
            <pc:sldMk cId="357712108" sldId="2142532973"/>
            <ac:picMk id="17" creationId="{00000000-0000-0000-0000-000000000000}"/>
          </ac:picMkLst>
        </pc:picChg>
        <pc:picChg chg="del mod">
          <ac:chgData name="Havel, Ales" userId="90458746-abd6-47aa-b501-72f753e6fc06" providerId="ADAL" clId="{8033C13B-5730-4681-B370-C71D286C10BC}" dt="2024-03-26T09:20:41.194" v="676" actId="478"/>
          <ac:picMkLst>
            <pc:docMk/>
            <pc:sldMk cId="357712108" sldId="2142532973"/>
            <ac:picMk id="19" creationId="{00000000-0000-0000-0000-000000000000}"/>
          </ac:picMkLst>
        </pc:picChg>
        <pc:picChg chg="mod">
          <ac:chgData name="Havel, Ales" userId="90458746-abd6-47aa-b501-72f753e6fc06" providerId="ADAL" clId="{8033C13B-5730-4681-B370-C71D286C10BC}" dt="2024-03-26T09:21:29.130" v="683" actId="1076"/>
          <ac:picMkLst>
            <pc:docMk/>
            <pc:sldMk cId="357712108" sldId="2142532973"/>
            <ac:picMk id="24" creationId="{00000000-0000-0000-0000-000000000000}"/>
          </ac:picMkLst>
        </pc:picChg>
        <pc:picChg chg="mod">
          <ac:chgData name="Havel, Ales" userId="90458746-abd6-47aa-b501-72f753e6fc06" providerId="ADAL" clId="{8033C13B-5730-4681-B370-C71D286C10BC}" dt="2024-03-26T09:21:29.130" v="683" actId="1076"/>
          <ac:picMkLst>
            <pc:docMk/>
            <pc:sldMk cId="357712108" sldId="2142532973"/>
            <ac:picMk id="25" creationId="{00000000-0000-0000-0000-000000000000}"/>
          </ac:picMkLst>
        </pc:picChg>
      </pc:sldChg>
      <pc:sldChg chg="add">
        <pc:chgData name="Havel, Ales" userId="90458746-abd6-47aa-b501-72f753e6fc06" providerId="ADAL" clId="{8033C13B-5730-4681-B370-C71D286C10BC}" dt="2024-03-26T09:15:45.128" v="12"/>
        <pc:sldMkLst>
          <pc:docMk/>
          <pc:sldMk cId="3261214605" sldId="2142532974"/>
        </pc:sldMkLst>
      </pc:sldChg>
      <pc:sldChg chg="ord">
        <pc:chgData name="Havel, Ales" userId="90458746-abd6-47aa-b501-72f753e6fc06" providerId="ADAL" clId="{8033C13B-5730-4681-B370-C71D286C10BC}" dt="2024-03-26T09:14:16.050" v="2"/>
        <pc:sldMkLst>
          <pc:docMk/>
          <pc:sldMk cId="4142966469" sldId="2142532977"/>
        </pc:sldMkLst>
      </pc:sldChg>
      <pc:sldChg chg="del">
        <pc:chgData name="Havel, Ales" userId="90458746-abd6-47aa-b501-72f753e6fc06" providerId="ADAL" clId="{8033C13B-5730-4681-B370-C71D286C10BC}" dt="2024-03-26T09:15:24.093" v="11" actId="47"/>
        <pc:sldMkLst>
          <pc:docMk/>
          <pc:sldMk cId="1522876489" sldId="2142532978"/>
        </pc:sldMkLst>
      </pc:sldChg>
      <pc:sldChg chg="add">
        <pc:chgData name="Havel, Ales" userId="90458746-abd6-47aa-b501-72f753e6fc06" providerId="ADAL" clId="{8033C13B-5730-4681-B370-C71D286C10BC}" dt="2024-03-26T09:15:16.595" v="10"/>
        <pc:sldMkLst>
          <pc:docMk/>
          <pc:sldMk cId="1146994490" sldId="2142532979"/>
        </pc:sldMkLst>
      </pc:sldChg>
      <pc:sldChg chg="addSp delSp modSp new mod modAnim">
        <pc:chgData name="Havel, Ales" userId="90458746-abd6-47aa-b501-72f753e6fc06" providerId="ADAL" clId="{8033C13B-5730-4681-B370-C71D286C10BC}" dt="2024-03-26T09:19:28.578" v="670" actId="1076"/>
        <pc:sldMkLst>
          <pc:docMk/>
          <pc:sldMk cId="2371053600" sldId="2142532980"/>
        </pc:sldMkLst>
        <pc:spChg chg="mod">
          <ac:chgData name="Havel, Ales" userId="90458746-abd6-47aa-b501-72f753e6fc06" providerId="ADAL" clId="{8033C13B-5730-4681-B370-C71D286C10BC}" dt="2024-03-26T09:16:44.174" v="588" actId="948"/>
          <ac:spMkLst>
            <pc:docMk/>
            <pc:sldMk cId="2371053600" sldId="2142532980"/>
            <ac:spMk id="2" creationId="{F97CDAC4-D4B9-C8E4-1A65-662BE28D5435}"/>
          </ac:spMkLst>
        </pc:spChg>
        <pc:spChg chg="mod">
          <ac:chgData name="Havel, Ales" userId="90458746-abd6-47aa-b501-72f753e6fc06" providerId="ADAL" clId="{8033C13B-5730-4681-B370-C71D286C10BC}" dt="2024-03-26T09:19:28.578" v="670" actId="1076"/>
          <ac:spMkLst>
            <pc:docMk/>
            <pc:sldMk cId="2371053600" sldId="2142532980"/>
            <ac:spMk id="3" creationId="{596BFE81-425C-8441-A023-4D9A321E6C08}"/>
          </ac:spMkLst>
        </pc:spChg>
        <pc:spChg chg="add del mod modVis">
          <ac:chgData name="Havel, Ales" userId="90458746-abd6-47aa-b501-72f753e6fc06" providerId="ADAL" clId="{8033C13B-5730-4681-B370-C71D286C10BC}" dt="2024-03-26T09:16:09.774" v="51"/>
          <ac:spMkLst>
            <pc:docMk/>
            <pc:sldMk cId="2371053600" sldId="2142532980"/>
            <ac:spMk id="5" creationId="{61E5F49C-280F-D082-36CC-DBD0C038EB45}"/>
          </ac:spMkLst>
        </pc:spChg>
        <pc:spChg chg="add del mod modVis">
          <ac:chgData name="Havel, Ales" userId="90458746-abd6-47aa-b501-72f753e6fc06" providerId="ADAL" clId="{8033C13B-5730-4681-B370-C71D286C10BC}" dt="2024-03-26T09:16:14.798" v="115"/>
          <ac:spMkLst>
            <pc:docMk/>
            <pc:sldMk cId="2371053600" sldId="2142532980"/>
            <ac:spMk id="7" creationId="{E4D047CE-1808-94C6-9659-17B48357B2FE}"/>
          </ac:spMkLst>
        </pc:spChg>
        <pc:spChg chg="add del mod modVis">
          <ac:chgData name="Havel, Ales" userId="90458746-abd6-47aa-b501-72f753e6fc06" providerId="ADAL" clId="{8033C13B-5730-4681-B370-C71D286C10BC}" dt="2024-03-26T09:16:15.894" v="145"/>
          <ac:spMkLst>
            <pc:docMk/>
            <pc:sldMk cId="2371053600" sldId="2142532980"/>
            <ac:spMk id="8" creationId="{A7D66D0B-AE50-F7DD-BCE5-41750E76ABE0}"/>
          </ac:spMkLst>
        </pc:spChg>
        <pc:spChg chg="add del mod modVis">
          <ac:chgData name="Havel, Ales" userId="90458746-abd6-47aa-b501-72f753e6fc06" providerId="ADAL" clId="{8033C13B-5730-4681-B370-C71D286C10BC}" dt="2024-03-26T09:16:19.135" v="177"/>
          <ac:spMkLst>
            <pc:docMk/>
            <pc:sldMk cId="2371053600" sldId="2142532980"/>
            <ac:spMk id="9" creationId="{8F85740D-AC71-6B4F-03C6-93987887517D}"/>
          </ac:spMkLst>
        </pc:spChg>
        <pc:spChg chg="add del mod modVis">
          <ac:chgData name="Havel, Ales" userId="90458746-abd6-47aa-b501-72f753e6fc06" providerId="ADAL" clId="{8033C13B-5730-4681-B370-C71D286C10BC}" dt="2024-03-26T09:16:21.490" v="213"/>
          <ac:spMkLst>
            <pc:docMk/>
            <pc:sldMk cId="2371053600" sldId="2142532980"/>
            <ac:spMk id="10" creationId="{2C37A75A-FA6E-81C2-A744-5BD9F16920EF}"/>
          </ac:spMkLst>
        </pc:spChg>
        <pc:spChg chg="add del mod modVis">
          <ac:chgData name="Havel, Ales" userId="90458746-abd6-47aa-b501-72f753e6fc06" providerId="ADAL" clId="{8033C13B-5730-4681-B370-C71D286C10BC}" dt="2024-03-26T09:16:22.085" v="242"/>
          <ac:spMkLst>
            <pc:docMk/>
            <pc:sldMk cId="2371053600" sldId="2142532980"/>
            <ac:spMk id="11" creationId="{0BDC6561-2450-8AF1-8E57-461CC38E5651}"/>
          </ac:spMkLst>
        </pc:spChg>
        <pc:spChg chg="add del mod modVis">
          <ac:chgData name="Havel, Ales" userId="90458746-abd6-47aa-b501-72f753e6fc06" providerId="ADAL" clId="{8033C13B-5730-4681-B370-C71D286C10BC}" dt="2024-03-26T09:16:25.826" v="287"/>
          <ac:spMkLst>
            <pc:docMk/>
            <pc:sldMk cId="2371053600" sldId="2142532980"/>
            <ac:spMk id="12" creationId="{4DB55785-082C-CD89-E5DB-A571554C945D}"/>
          </ac:spMkLst>
        </pc:spChg>
        <pc:spChg chg="add del mod modVis">
          <ac:chgData name="Havel, Ales" userId="90458746-abd6-47aa-b501-72f753e6fc06" providerId="ADAL" clId="{8033C13B-5730-4681-B370-C71D286C10BC}" dt="2024-03-26T09:16:26.964" v="318"/>
          <ac:spMkLst>
            <pc:docMk/>
            <pc:sldMk cId="2371053600" sldId="2142532980"/>
            <ac:spMk id="13" creationId="{1B939E58-3675-2ED3-7711-77285AE6076A}"/>
          </ac:spMkLst>
        </pc:spChg>
        <pc:spChg chg="add del mod modVis">
          <ac:chgData name="Havel, Ales" userId="90458746-abd6-47aa-b501-72f753e6fc06" providerId="ADAL" clId="{8033C13B-5730-4681-B370-C71D286C10BC}" dt="2024-03-26T09:16:29.099" v="351"/>
          <ac:spMkLst>
            <pc:docMk/>
            <pc:sldMk cId="2371053600" sldId="2142532980"/>
            <ac:spMk id="14" creationId="{71AECD5F-1185-BF3A-A5CD-31D9082DAFB1}"/>
          </ac:spMkLst>
        </pc:spChg>
        <pc:spChg chg="add del mod modVis">
          <ac:chgData name="Havel, Ales" userId="90458746-abd6-47aa-b501-72f753e6fc06" providerId="ADAL" clId="{8033C13B-5730-4681-B370-C71D286C10BC}" dt="2024-03-26T09:16:30.849" v="382"/>
          <ac:spMkLst>
            <pc:docMk/>
            <pc:sldMk cId="2371053600" sldId="2142532980"/>
            <ac:spMk id="15" creationId="{127F81BE-EE3D-87EE-404F-71012BF3C9B4}"/>
          </ac:spMkLst>
        </pc:spChg>
        <pc:spChg chg="add del mod modVis">
          <ac:chgData name="Havel, Ales" userId="90458746-abd6-47aa-b501-72f753e6fc06" providerId="ADAL" clId="{8033C13B-5730-4681-B370-C71D286C10BC}" dt="2024-03-26T09:16:32.689" v="417"/>
          <ac:spMkLst>
            <pc:docMk/>
            <pc:sldMk cId="2371053600" sldId="2142532980"/>
            <ac:spMk id="16" creationId="{18C28D78-DD11-10D8-6849-F31F7F6A494B}"/>
          </ac:spMkLst>
        </pc:spChg>
        <pc:spChg chg="add del mod modVis">
          <ac:chgData name="Havel, Ales" userId="90458746-abd6-47aa-b501-72f753e6fc06" providerId="ADAL" clId="{8033C13B-5730-4681-B370-C71D286C10BC}" dt="2024-03-26T09:16:34.387" v="447"/>
          <ac:spMkLst>
            <pc:docMk/>
            <pc:sldMk cId="2371053600" sldId="2142532980"/>
            <ac:spMk id="17" creationId="{E515B21C-B732-37AC-2A86-BA3CFC88770F}"/>
          </ac:spMkLst>
        </pc:spChg>
        <pc:spChg chg="add del mod modVis">
          <ac:chgData name="Havel, Ales" userId="90458746-abd6-47aa-b501-72f753e6fc06" providerId="ADAL" clId="{8033C13B-5730-4681-B370-C71D286C10BC}" dt="2024-03-26T09:16:35.074" v="475"/>
          <ac:spMkLst>
            <pc:docMk/>
            <pc:sldMk cId="2371053600" sldId="2142532980"/>
            <ac:spMk id="18" creationId="{5D093672-D125-1C63-74BF-2DBD4082DCD4}"/>
          </ac:spMkLst>
        </pc:spChg>
        <pc:spChg chg="add del mod modVis">
          <ac:chgData name="Havel, Ales" userId="90458746-abd6-47aa-b501-72f753e6fc06" providerId="ADAL" clId="{8033C13B-5730-4681-B370-C71D286C10BC}" dt="2024-03-26T09:16:36.824" v="504"/>
          <ac:spMkLst>
            <pc:docMk/>
            <pc:sldMk cId="2371053600" sldId="2142532980"/>
            <ac:spMk id="19" creationId="{6A5A3BA9-0CD2-90C1-1BD7-973E98E6E82A}"/>
          </ac:spMkLst>
        </pc:spChg>
        <pc:spChg chg="add del mod modVis">
          <ac:chgData name="Havel, Ales" userId="90458746-abd6-47aa-b501-72f753e6fc06" providerId="ADAL" clId="{8033C13B-5730-4681-B370-C71D286C10BC}" dt="2024-03-26T09:16:40.728" v="543"/>
          <ac:spMkLst>
            <pc:docMk/>
            <pc:sldMk cId="2371053600" sldId="2142532980"/>
            <ac:spMk id="20" creationId="{9888FA45-D396-A9A0-9E84-A86216E3DBEB}"/>
          </ac:spMkLst>
        </pc:spChg>
        <pc:spChg chg="add del mod modVis">
          <ac:chgData name="Havel, Ales" userId="90458746-abd6-47aa-b501-72f753e6fc06" providerId="ADAL" clId="{8033C13B-5730-4681-B370-C71D286C10BC}" dt="2024-03-26T09:16:43.250" v="582"/>
          <ac:spMkLst>
            <pc:docMk/>
            <pc:sldMk cId="2371053600" sldId="2142532980"/>
            <ac:spMk id="21" creationId="{4325309A-2765-8BD1-6CA3-181C1DD83DA5}"/>
          </ac:spMkLst>
        </pc:spChg>
        <pc:spChg chg="add del mod modVis">
          <ac:chgData name="Havel, Ales" userId="90458746-abd6-47aa-b501-72f753e6fc06" providerId="ADAL" clId="{8033C13B-5730-4681-B370-C71D286C10BC}" dt="2024-03-26T09:16:44.218" v="612"/>
          <ac:spMkLst>
            <pc:docMk/>
            <pc:sldMk cId="2371053600" sldId="2142532980"/>
            <ac:spMk id="22" creationId="{C1CE3110-D8F8-D97A-2258-FAFE4DE8B035}"/>
          </ac:spMkLst>
        </pc:spChg>
        <pc:spChg chg="add mod">
          <ac:chgData name="Havel, Ales" userId="90458746-abd6-47aa-b501-72f753e6fc06" providerId="ADAL" clId="{8033C13B-5730-4681-B370-C71D286C10BC}" dt="2024-03-26T09:19:28.578" v="670" actId="1076"/>
          <ac:spMkLst>
            <pc:docMk/>
            <pc:sldMk cId="2371053600" sldId="2142532980"/>
            <ac:spMk id="23" creationId="{6D9F762F-2BF8-EF55-A25D-8B1348C60E0A}"/>
          </ac:spMkLst>
        </pc:spChg>
        <pc:spChg chg="add mod">
          <ac:chgData name="Havel, Ales" userId="90458746-abd6-47aa-b501-72f753e6fc06" providerId="ADAL" clId="{8033C13B-5730-4681-B370-C71D286C10BC}" dt="2024-03-26T09:19:28.578" v="670" actId="1076"/>
          <ac:spMkLst>
            <pc:docMk/>
            <pc:sldMk cId="2371053600" sldId="2142532980"/>
            <ac:spMk id="24" creationId="{46268780-1ED5-A1CA-ECA0-3CA337A03E68}"/>
          </ac:spMkLst>
        </pc:spChg>
        <pc:graphicFrameChg chg="add mod ord modVis replST">
          <ac:chgData name="Havel, Ales" userId="90458746-abd6-47aa-b501-72f753e6fc06" providerId="ADAL" clId="{8033C13B-5730-4681-B370-C71D286C10BC}" dt="2024-03-26T09:16:44.218" v="614"/>
          <ac:graphicFrameMkLst>
            <pc:docMk/>
            <pc:sldMk cId="2371053600" sldId="2142532980"/>
            <ac:graphicFrameMk id="6" creationId="{AB68D19D-1108-4390-98B5-B7D83555EB88}"/>
          </ac:graphicFrameMkLst>
        </pc:graphicFrameChg>
      </pc:sldChg>
      <pc:sldMasterChg chg="delSldLayout">
        <pc:chgData name="Havel, Ales" userId="90458746-abd6-47aa-b501-72f753e6fc06" providerId="ADAL" clId="{8033C13B-5730-4681-B370-C71D286C10BC}" dt="2024-03-26T09:14:42.182" v="7" actId="47"/>
        <pc:sldMasterMkLst>
          <pc:docMk/>
          <pc:sldMasterMk cId="3246290504" sldId="2147483648"/>
        </pc:sldMasterMkLst>
        <pc:sldLayoutChg chg="del">
          <pc:chgData name="Havel, Ales" userId="90458746-abd6-47aa-b501-72f753e6fc06" providerId="ADAL" clId="{8033C13B-5730-4681-B370-C71D286C10BC}" dt="2024-03-26T09:14:42.182" v="7" actId="47"/>
          <pc:sldLayoutMkLst>
            <pc:docMk/>
            <pc:sldMasterMk cId="3246290504" sldId="2147483648"/>
            <pc:sldLayoutMk cId="3540872988" sldId="2147483726"/>
          </pc:sldLayoutMkLst>
        </pc:sldLayoutChg>
        <pc:sldLayoutChg chg="del">
          <pc:chgData name="Havel, Ales" userId="90458746-abd6-47aa-b501-72f753e6fc06" providerId="ADAL" clId="{8033C13B-5730-4681-B370-C71D286C10BC}" dt="2024-03-26T09:13:59.373" v="0" actId="47"/>
          <pc:sldLayoutMkLst>
            <pc:docMk/>
            <pc:sldMasterMk cId="3246290504" sldId="2147483648"/>
            <pc:sldLayoutMk cId="3983088949" sldId="2147483728"/>
          </pc:sldLayoutMkLst>
        </pc:sldLayoutChg>
      </pc:sldMasterChg>
    </pc:docChg>
  </pc:docChgLst>
  <pc:docChgLst>
    <pc:chgData name="Havel, Ales" userId="90458746-abd6-47aa-b501-72f753e6fc06" providerId="ADAL" clId="{EDB959CF-EF2D-4E31-B9DB-90F86033FD74}"/>
    <pc:docChg chg="modSld">
      <pc:chgData name="Havel, Ales" userId="90458746-abd6-47aa-b501-72f753e6fc06" providerId="ADAL" clId="{EDB959CF-EF2D-4E31-B9DB-90F86033FD74}" dt="2023-11-28T20:37:09.013" v="13" actId="20577"/>
      <pc:docMkLst>
        <pc:docMk/>
      </pc:docMkLst>
      <pc:sldChg chg="modSp mod">
        <pc:chgData name="Havel, Ales" userId="90458746-abd6-47aa-b501-72f753e6fc06" providerId="ADAL" clId="{EDB959CF-EF2D-4E31-B9DB-90F86033FD74}" dt="2023-11-28T20:37:09.013" v="13" actId="20577"/>
        <pc:sldMkLst>
          <pc:docMk/>
          <pc:sldMk cId="2410120141" sldId="904"/>
        </pc:sldMkLst>
        <pc:spChg chg="mod">
          <ac:chgData name="Havel, Ales" userId="90458746-abd6-47aa-b501-72f753e6fc06" providerId="ADAL" clId="{EDB959CF-EF2D-4E31-B9DB-90F86033FD74}" dt="2023-11-28T20:37:09.013" v="13" actId="20577"/>
          <ac:spMkLst>
            <pc:docMk/>
            <pc:sldMk cId="2410120141" sldId="904"/>
            <ac:spMk id="12" creationId="{F9FCC480-8257-BB93-FB95-F1859B06E8B3}"/>
          </ac:spMkLst>
        </pc:spChg>
      </pc:sldChg>
      <pc:sldChg chg="modSp mod">
        <pc:chgData name="Havel, Ales" userId="90458746-abd6-47aa-b501-72f753e6fc06" providerId="ADAL" clId="{EDB959CF-EF2D-4E31-B9DB-90F86033FD74}" dt="2023-11-28T20:36:41.907" v="8" actId="20577"/>
        <pc:sldMkLst>
          <pc:docMk/>
          <pc:sldMk cId="3420453801" sldId="3214"/>
        </pc:sldMkLst>
        <pc:spChg chg="mod">
          <ac:chgData name="Havel, Ales" userId="90458746-abd6-47aa-b501-72f753e6fc06" providerId="ADAL" clId="{EDB959CF-EF2D-4E31-B9DB-90F86033FD74}" dt="2023-11-28T20:36:41.907" v="8" actId="20577"/>
          <ac:spMkLst>
            <pc:docMk/>
            <pc:sldMk cId="3420453801" sldId="3214"/>
            <ac:spMk id="4" creationId="{00000000-0000-0000-0000-000000000000}"/>
          </ac:spMkLst>
        </pc:spChg>
      </pc:sldChg>
    </pc:docChg>
  </pc:docChgLst>
  <pc:docChgLst>
    <pc:chgData name="Havel, Ales" userId="90458746-abd6-47aa-b501-72f753e6fc06" providerId="ADAL" clId="{182F9AC2-225E-46F6-AB66-1C313CCA0C0C}"/>
    <pc:docChg chg="custSel addSld modSld replTag">
      <pc:chgData name="Havel, Ales" userId="90458746-abd6-47aa-b501-72f753e6fc06" providerId="ADAL" clId="{182F9AC2-225E-46F6-AB66-1C313CCA0C0C}" dt="2023-03-21T05:11:35.265" v="1161"/>
      <pc:docMkLst>
        <pc:docMk/>
      </pc:docMkLst>
      <pc:sldChg chg="add">
        <pc:chgData name="Havel, Ales" userId="90458746-abd6-47aa-b501-72f753e6fc06" providerId="ADAL" clId="{182F9AC2-225E-46F6-AB66-1C313CCA0C0C}" dt="2023-03-21T05:11:03.787" v="1133"/>
        <pc:sldMkLst>
          <pc:docMk/>
          <pc:sldMk cId="3525591005" sldId="262"/>
        </pc:sldMkLst>
      </pc:sldChg>
      <pc:sldChg chg="add">
        <pc:chgData name="Havel, Ales" userId="90458746-abd6-47aa-b501-72f753e6fc06" providerId="ADAL" clId="{182F9AC2-225E-46F6-AB66-1C313CCA0C0C}" dt="2023-03-21T05:11:03.787" v="1133"/>
        <pc:sldMkLst>
          <pc:docMk/>
          <pc:sldMk cId="2699904168" sldId="279"/>
        </pc:sldMkLst>
      </pc:sldChg>
      <pc:sldChg chg="add">
        <pc:chgData name="Havel, Ales" userId="90458746-abd6-47aa-b501-72f753e6fc06" providerId="ADAL" clId="{182F9AC2-225E-46F6-AB66-1C313CCA0C0C}" dt="2023-03-21T05:11:03.787" v="1133"/>
        <pc:sldMkLst>
          <pc:docMk/>
          <pc:sldMk cId="54913606" sldId="353"/>
        </pc:sldMkLst>
      </pc:sldChg>
      <pc:sldChg chg="add">
        <pc:chgData name="Havel, Ales" userId="90458746-abd6-47aa-b501-72f753e6fc06" providerId="ADAL" clId="{182F9AC2-225E-46F6-AB66-1C313CCA0C0C}" dt="2023-03-21T05:11:03.787" v="1133"/>
        <pc:sldMkLst>
          <pc:docMk/>
          <pc:sldMk cId="876703467" sldId="355"/>
        </pc:sldMkLst>
      </pc:sldChg>
      <pc:sldChg chg="add">
        <pc:chgData name="Havel, Ales" userId="90458746-abd6-47aa-b501-72f753e6fc06" providerId="ADAL" clId="{182F9AC2-225E-46F6-AB66-1C313CCA0C0C}" dt="2023-03-21T05:11:03.787" v="1133"/>
        <pc:sldMkLst>
          <pc:docMk/>
          <pc:sldMk cId="2936164416" sldId="359"/>
        </pc:sldMkLst>
      </pc:sldChg>
      <pc:sldChg chg="add">
        <pc:chgData name="Havel, Ales" userId="90458746-abd6-47aa-b501-72f753e6fc06" providerId="ADAL" clId="{182F9AC2-225E-46F6-AB66-1C313CCA0C0C}" dt="2023-03-21T05:11:03.787" v="1133"/>
        <pc:sldMkLst>
          <pc:docMk/>
          <pc:sldMk cId="4070392203" sldId="373"/>
        </pc:sldMkLst>
      </pc:sldChg>
      <pc:sldChg chg="add">
        <pc:chgData name="Havel, Ales" userId="90458746-abd6-47aa-b501-72f753e6fc06" providerId="ADAL" clId="{182F9AC2-225E-46F6-AB66-1C313CCA0C0C}" dt="2023-03-21T05:11:03.787" v="1133"/>
        <pc:sldMkLst>
          <pc:docMk/>
          <pc:sldMk cId="3107527425" sldId="385"/>
        </pc:sldMkLst>
      </pc:sldChg>
      <pc:sldChg chg="addSp delSp modSp add mod">
        <pc:chgData name="Havel, Ales" userId="90458746-abd6-47aa-b501-72f753e6fc06" providerId="ADAL" clId="{182F9AC2-225E-46F6-AB66-1C313CCA0C0C}" dt="2023-03-16T10:37:06.064" v="313"/>
        <pc:sldMkLst>
          <pc:docMk/>
          <pc:sldMk cId="522469542" sldId="772"/>
        </pc:sldMkLst>
        <pc:spChg chg="add del mod modVis">
          <ac:chgData name="Havel, Ales" userId="90458746-abd6-47aa-b501-72f753e6fc06" providerId="ADAL" clId="{182F9AC2-225E-46F6-AB66-1C313CCA0C0C}" dt="2023-03-16T10:37:03.922" v="263"/>
          <ac:spMkLst>
            <pc:docMk/>
            <pc:sldMk cId="522469542" sldId="772"/>
            <ac:spMk id="2" creationId="{0A0BF9A1-D531-A391-7A1F-6124AE0C2F37}"/>
          </ac:spMkLst>
        </pc:spChg>
        <pc:spChg chg="add del mod modVis">
          <ac:chgData name="Havel, Ales" userId="90458746-abd6-47aa-b501-72f753e6fc06" providerId="ADAL" clId="{182F9AC2-225E-46F6-AB66-1C313CCA0C0C}" dt="2023-03-16T10:37:06.062" v="311"/>
          <ac:spMkLst>
            <pc:docMk/>
            <pc:sldMk cId="522469542" sldId="772"/>
            <ac:spMk id="4" creationId="{989DE306-74A2-DBF1-2966-10879A2FE4AC}"/>
          </ac:spMkLst>
        </pc:spChg>
        <pc:spChg chg="mod">
          <ac:chgData name="Havel, Ales" userId="90458746-abd6-47aa-b501-72f753e6fc06" providerId="ADAL" clId="{182F9AC2-225E-46F6-AB66-1C313CCA0C0C}" dt="2023-03-16T10:37:06.034" v="283" actId="948"/>
          <ac:spMkLst>
            <pc:docMk/>
            <pc:sldMk cId="522469542" sldId="772"/>
            <ac:spMk id="21" creationId="{53BF230E-C250-4BC3-B31D-400BEF8A6549}"/>
          </ac:spMkLst>
        </pc:spChg>
        <pc:graphicFrameChg chg="add mod ord modVis replST">
          <ac:chgData name="Havel, Ales" userId="90458746-abd6-47aa-b501-72f753e6fc06" providerId="ADAL" clId="{182F9AC2-225E-46F6-AB66-1C313CCA0C0C}" dt="2023-03-16T10:37:06.064" v="313"/>
          <ac:graphicFrameMkLst>
            <pc:docMk/>
            <pc:sldMk cId="522469542" sldId="772"/>
            <ac:graphicFrameMk id="3" creationId="{58CEF3DC-9FB8-C61E-AFE6-7B45C777E7F6}"/>
          </ac:graphicFrameMkLst>
        </pc:graphicFrameChg>
      </pc:sldChg>
      <pc:sldChg chg="add">
        <pc:chgData name="Havel, Ales" userId="90458746-abd6-47aa-b501-72f753e6fc06" providerId="ADAL" clId="{182F9AC2-225E-46F6-AB66-1C313CCA0C0C}" dt="2023-03-16T10:36:18.472" v="233"/>
        <pc:sldMkLst>
          <pc:docMk/>
          <pc:sldMk cId="1068915281" sldId="1091"/>
        </pc:sldMkLst>
      </pc:sldChg>
      <pc:sldChg chg="add">
        <pc:chgData name="Havel, Ales" userId="90458746-abd6-47aa-b501-72f753e6fc06" providerId="ADAL" clId="{182F9AC2-225E-46F6-AB66-1C313CCA0C0C}" dt="2023-03-16T10:36:51.253" v="234"/>
        <pc:sldMkLst>
          <pc:docMk/>
          <pc:sldMk cId="2125221587" sldId="1093"/>
        </pc:sldMkLst>
      </pc:sldChg>
      <pc:sldChg chg="addSp delSp modSp add mod">
        <pc:chgData name="Havel, Ales" userId="90458746-abd6-47aa-b501-72f753e6fc06" providerId="ADAL" clId="{182F9AC2-225E-46F6-AB66-1C313CCA0C0C}" dt="2023-03-16T10:35:59.856" v="232"/>
        <pc:sldMkLst>
          <pc:docMk/>
          <pc:sldMk cId="3855815996" sldId="1204"/>
        </pc:sldMkLst>
        <pc:spChg chg="add del mod modVis">
          <ac:chgData name="Havel, Ales" userId="90458746-abd6-47aa-b501-72f753e6fc06" providerId="ADAL" clId="{182F9AC2-225E-46F6-AB66-1C313CCA0C0C}" dt="2023-03-16T10:35:59.822" v="217"/>
          <ac:spMkLst>
            <pc:docMk/>
            <pc:sldMk cId="3855815996" sldId="1204"/>
            <ac:spMk id="2" creationId="{AFE60266-B5EF-C960-3A38-B4E8ADC36003}"/>
          </ac:spMkLst>
        </pc:spChg>
        <pc:spChg chg="mod">
          <ac:chgData name="Havel, Ales" userId="90458746-abd6-47aa-b501-72f753e6fc06" providerId="ADAL" clId="{182F9AC2-225E-46F6-AB66-1C313CCA0C0C}" dt="2023-03-16T10:35:59.802" v="193" actId="948"/>
          <ac:spMkLst>
            <pc:docMk/>
            <pc:sldMk cId="3855815996" sldId="1204"/>
            <ac:spMk id="32" creationId="{CADB250A-7A5E-48E7-A1D5-AAA591905B3A}"/>
          </ac:spMkLst>
        </pc:spChg>
        <pc:graphicFrameChg chg="add mod ord modVis replST">
          <ac:chgData name="Havel, Ales" userId="90458746-abd6-47aa-b501-72f753e6fc06" providerId="ADAL" clId="{182F9AC2-225E-46F6-AB66-1C313CCA0C0C}" dt="2023-03-16T10:35:59.856" v="232"/>
          <ac:graphicFrameMkLst>
            <pc:docMk/>
            <pc:sldMk cId="3855815996" sldId="1204"/>
            <ac:graphicFrameMk id="3" creationId="{10174374-8726-C3CC-1210-EA21E9BE5932}"/>
          </ac:graphicFrameMkLst>
        </pc:graphicFrameChg>
      </pc:sldChg>
      <pc:sldChg chg="delSp add mod">
        <pc:chgData name="Havel, Ales" userId="90458746-abd6-47aa-b501-72f753e6fc06" providerId="ADAL" clId="{182F9AC2-225E-46F6-AB66-1C313CCA0C0C}" dt="2023-03-16T11:54:48.718" v="322" actId="478"/>
        <pc:sldMkLst>
          <pc:docMk/>
          <pc:sldMk cId="2437442388" sldId="1255"/>
        </pc:sldMkLst>
        <pc:spChg chg="del">
          <ac:chgData name="Havel, Ales" userId="90458746-abd6-47aa-b501-72f753e6fc06" providerId="ADAL" clId="{182F9AC2-225E-46F6-AB66-1C313CCA0C0C}" dt="2023-03-16T11:54:48.718" v="322" actId="478"/>
          <ac:spMkLst>
            <pc:docMk/>
            <pc:sldMk cId="2437442388" sldId="1255"/>
            <ac:spMk id="22" creationId="{00000000-0000-0000-0000-000000000000}"/>
          </ac:spMkLst>
        </pc:spChg>
      </pc:sldChg>
      <pc:sldChg chg="modSp add mod">
        <pc:chgData name="Havel, Ales" userId="90458746-abd6-47aa-b501-72f753e6fc06" providerId="ADAL" clId="{182F9AC2-225E-46F6-AB66-1C313CCA0C0C}" dt="2023-03-16T11:54:29.386" v="321" actId="13822"/>
        <pc:sldMkLst>
          <pc:docMk/>
          <pc:sldMk cId="4169498846" sldId="1687"/>
        </pc:sldMkLst>
        <pc:spChg chg="mod">
          <ac:chgData name="Havel, Ales" userId="90458746-abd6-47aa-b501-72f753e6fc06" providerId="ADAL" clId="{182F9AC2-225E-46F6-AB66-1C313CCA0C0C}" dt="2023-03-16T11:54:03.073" v="317" actId="13822"/>
          <ac:spMkLst>
            <pc:docMk/>
            <pc:sldMk cId="4169498846" sldId="1687"/>
            <ac:spMk id="16" creationId="{00000000-0000-0000-0000-000000000000}"/>
          </ac:spMkLst>
        </pc:spChg>
        <pc:spChg chg="mod">
          <ac:chgData name="Havel, Ales" userId="90458746-abd6-47aa-b501-72f753e6fc06" providerId="ADAL" clId="{182F9AC2-225E-46F6-AB66-1C313CCA0C0C}" dt="2023-03-16T11:54:25.284" v="319" actId="13822"/>
          <ac:spMkLst>
            <pc:docMk/>
            <pc:sldMk cId="4169498846" sldId="1687"/>
            <ac:spMk id="17" creationId="{00000000-0000-0000-0000-000000000000}"/>
          </ac:spMkLst>
        </pc:spChg>
        <pc:spChg chg="mod">
          <ac:chgData name="Havel, Ales" userId="90458746-abd6-47aa-b501-72f753e6fc06" providerId="ADAL" clId="{182F9AC2-225E-46F6-AB66-1C313CCA0C0C}" dt="2023-03-16T11:54:27.068" v="320" actId="13822"/>
          <ac:spMkLst>
            <pc:docMk/>
            <pc:sldMk cId="4169498846" sldId="1687"/>
            <ac:spMk id="19" creationId="{00000000-0000-0000-0000-000000000000}"/>
          </ac:spMkLst>
        </pc:spChg>
        <pc:spChg chg="mod">
          <ac:chgData name="Havel, Ales" userId="90458746-abd6-47aa-b501-72f753e6fc06" providerId="ADAL" clId="{182F9AC2-225E-46F6-AB66-1C313CCA0C0C}" dt="2023-03-16T11:54:22.516" v="318" actId="13822"/>
          <ac:spMkLst>
            <pc:docMk/>
            <pc:sldMk cId="4169498846" sldId="1687"/>
            <ac:spMk id="20" creationId="{00000000-0000-0000-0000-000000000000}"/>
          </ac:spMkLst>
        </pc:spChg>
        <pc:spChg chg="mod">
          <ac:chgData name="Havel, Ales" userId="90458746-abd6-47aa-b501-72f753e6fc06" providerId="ADAL" clId="{182F9AC2-225E-46F6-AB66-1C313CCA0C0C}" dt="2023-03-16T11:54:29.386" v="321" actId="13822"/>
          <ac:spMkLst>
            <pc:docMk/>
            <pc:sldMk cId="4169498846" sldId="1687"/>
            <ac:spMk id="21" creationId="{00000000-0000-0000-0000-000000000000}"/>
          </ac:spMkLst>
        </pc:spChg>
      </pc:sldChg>
      <pc:sldChg chg="addSp delSp modSp new add mod">
        <pc:chgData name="Havel, Ales" userId="90458746-abd6-47aa-b501-72f753e6fc06" providerId="ADAL" clId="{182F9AC2-225E-46F6-AB66-1C313CCA0C0C}" dt="2023-03-16T09:54:26.843" v="189"/>
        <pc:sldMkLst>
          <pc:docMk/>
          <pc:sldMk cId="2890323466" sldId="7107"/>
        </pc:sldMkLst>
        <pc:spChg chg="mod">
          <ac:chgData name="Havel, Ales" userId="90458746-abd6-47aa-b501-72f753e6fc06" providerId="ADAL" clId="{182F9AC2-225E-46F6-AB66-1C313CCA0C0C}" dt="2023-03-16T09:54:26.823" v="163" actId="948"/>
          <ac:spMkLst>
            <pc:docMk/>
            <pc:sldMk cId="2890323466" sldId="7107"/>
            <ac:spMk id="2" creationId="{FA99D1D3-9A9E-183A-81B8-14CB278D2F86}"/>
          </ac:spMkLst>
        </pc:spChg>
        <pc:spChg chg="add del mod modVis">
          <ac:chgData name="Havel, Ales" userId="90458746-abd6-47aa-b501-72f753e6fc06" providerId="ADAL" clId="{182F9AC2-225E-46F6-AB66-1C313CCA0C0C}" dt="2023-03-16T09:54:22.248" v="71"/>
          <ac:spMkLst>
            <pc:docMk/>
            <pc:sldMk cId="2890323466" sldId="7107"/>
            <ac:spMk id="6" creationId="{0214BC08-38BA-AC08-D630-7107EBD2748D}"/>
          </ac:spMkLst>
        </pc:spChg>
        <pc:spChg chg="add del mod modVis">
          <ac:chgData name="Havel, Ales" userId="90458746-abd6-47aa-b501-72f753e6fc06" providerId="ADAL" clId="{182F9AC2-225E-46F6-AB66-1C313CCA0C0C}" dt="2023-03-16T09:54:24.448" v="102"/>
          <ac:spMkLst>
            <pc:docMk/>
            <pc:sldMk cId="2890323466" sldId="7107"/>
            <ac:spMk id="7" creationId="{636C97EA-3B12-B668-D501-A1E9D4135761}"/>
          </ac:spMkLst>
        </pc:spChg>
        <pc:spChg chg="add del mod modVis">
          <ac:chgData name="Havel, Ales" userId="90458746-abd6-47aa-b501-72f753e6fc06" providerId="ADAL" clId="{182F9AC2-225E-46F6-AB66-1C313CCA0C0C}" dt="2023-03-16T09:54:25.107" v="130"/>
          <ac:spMkLst>
            <pc:docMk/>
            <pc:sldMk cId="2890323466" sldId="7107"/>
            <ac:spMk id="8" creationId="{005D1C78-1D0C-5031-2EAD-29938CE634E1}"/>
          </ac:spMkLst>
        </pc:spChg>
        <pc:spChg chg="add del mod modVis">
          <ac:chgData name="Havel, Ales" userId="90458746-abd6-47aa-b501-72f753e6fc06" providerId="ADAL" clId="{182F9AC2-225E-46F6-AB66-1C313CCA0C0C}" dt="2023-03-16T09:54:26.303" v="159"/>
          <ac:spMkLst>
            <pc:docMk/>
            <pc:sldMk cId="2890323466" sldId="7107"/>
            <ac:spMk id="9" creationId="{EED89C79-29EF-243F-E02A-6ADCE5482B22}"/>
          </ac:spMkLst>
        </pc:spChg>
        <pc:spChg chg="add del mod modVis">
          <ac:chgData name="Havel, Ales" userId="90458746-abd6-47aa-b501-72f753e6fc06" providerId="ADAL" clId="{182F9AC2-225E-46F6-AB66-1C313CCA0C0C}" dt="2023-03-16T09:54:26.840" v="187"/>
          <ac:spMkLst>
            <pc:docMk/>
            <pc:sldMk cId="2890323466" sldId="7107"/>
            <ac:spMk id="10" creationId="{51E664C6-B00B-0F7D-1F09-8F5A8F6BBAD7}"/>
          </ac:spMkLst>
        </pc:spChg>
        <pc:graphicFrameChg chg="add mod ord modVis replST">
          <ac:chgData name="Havel, Ales" userId="90458746-abd6-47aa-b501-72f753e6fc06" providerId="ADAL" clId="{182F9AC2-225E-46F6-AB66-1C313CCA0C0C}" dt="2023-03-16T09:54:26.843" v="189"/>
          <ac:graphicFrameMkLst>
            <pc:docMk/>
            <pc:sldMk cId="2890323466" sldId="7107"/>
            <ac:graphicFrameMk id="5" creationId="{1DCA7EF1-C844-04D4-7F02-48044A5D7086}"/>
          </ac:graphicFrameMkLst>
        </pc:graphicFrameChg>
      </pc:sldChg>
      <pc:sldChg chg="add modAnim">
        <pc:chgData name="Havel, Ales" userId="90458746-abd6-47aa-b501-72f753e6fc06" providerId="ADAL" clId="{182F9AC2-225E-46F6-AB66-1C313CCA0C0C}" dt="2023-03-21T05:11:25.745" v="1152"/>
        <pc:sldMkLst>
          <pc:docMk/>
          <pc:sldMk cId="1230206025" sldId="7375"/>
        </pc:sldMkLst>
      </pc:sldChg>
      <pc:sldChg chg="add">
        <pc:chgData name="Havel, Ales" userId="90458746-abd6-47aa-b501-72f753e6fc06" providerId="ADAL" clId="{182F9AC2-225E-46F6-AB66-1C313CCA0C0C}" dt="2023-03-16T10:27:27.648" v="190"/>
        <pc:sldMkLst>
          <pc:docMk/>
          <pc:sldMk cId="3939941407" sldId="2076138082"/>
        </pc:sldMkLst>
      </pc:sldChg>
      <pc:sldChg chg="add modAnim">
        <pc:chgData name="Havel, Ales" userId="90458746-abd6-47aa-b501-72f753e6fc06" providerId="ADAL" clId="{182F9AC2-225E-46F6-AB66-1C313CCA0C0C}" dt="2023-03-21T05:11:35.265" v="1161"/>
        <pc:sldMkLst>
          <pc:docMk/>
          <pc:sldMk cId="2106969779" sldId="2076138090"/>
        </pc:sldMkLst>
      </pc:sldChg>
      <pc:sldChg chg="add">
        <pc:chgData name="Havel, Ales" userId="90458746-abd6-47aa-b501-72f753e6fc06" providerId="ADAL" clId="{182F9AC2-225E-46F6-AB66-1C313CCA0C0C}" dt="2023-03-20T12:02:46.654" v="323"/>
        <pc:sldMkLst>
          <pc:docMk/>
          <pc:sldMk cId="2004326160" sldId="2142532953"/>
        </pc:sldMkLst>
      </pc:sldChg>
      <pc:sldChg chg="add">
        <pc:chgData name="Havel, Ales" userId="90458746-abd6-47aa-b501-72f753e6fc06" providerId="ADAL" clId="{182F9AC2-225E-46F6-AB66-1C313CCA0C0C}" dt="2023-03-20T12:02:46.654" v="323"/>
        <pc:sldMkLst>
          <pc:docMk/>
          <pc:sldMk cId="4235646524" sldId="2142532954"/>
        </pc:sldMkLst>
      </pc:sldChg>
      <pc:sldChg chg="add">
        <pc:chgData name="Havel, Ales" userId="90458746-abd6-47aa-b501-72f753e6fc06" providerId="ADAL" clId="{182F9AC2-225E-46F6-AB66-1C313CCA0C0C}" dt="2023-03-20T12:02:46.654" v="323"/>
        <pc:sldMkLst>
          <pc:docMk/>
          <pc:sldMk cId="1347232025" sldId="2142532955"/>
        </pc:sldMkLst>
      </pc:sldChg>
      <pc:sldChg chg="addSp delSp modSp new add mod">
        <pc:chgData name="Havel, Ales" userId="90458746-abd6-47aa-b501-72f753e6fc06" providerId="ADAL" clId="{182F9AC2-225E-46F6-AB66-1C313CCA0C0C}" dt="2023-03-20T12:14:05.734" v="512"/>
        <pc:sldMkLst>
          <pc:docMk/>
          <pc:sldMk cId="127812904" sldId="2142532956"/>
        </pc:sldMkLst>
        <pc:spChg chg="mod">
          <ac:chgData name="Havel, Ales" userId="90458746-abd6-47aa-b501-72f753e6fc06" providerId="ADAL" clId="{182F9AC2-225E-46F6-AB66-1C313CCA0C0C}" dt="2023-03-20T12:14:05.709" v="486" actId="948"/>
          <ac:spMkLst>
            <pc:docMk/>
            <pc:sldMk cId="127812904" sldId="2142532956"/>
            <ac:spMk id="2" creationId="{13B3327F-924A-7FE7-11E6-60D763CA74E9}"/>
          </ac:spMkLst>
        </pc:spChg>
        <pc:spChg chg="add del mod modVis">
          <ac:chgData name="Havel, Ales" userId="90458746-abd6-47aa-b501-72f753e6fc06" providerId="ADAL" clId="{182F9AC2-225E-46F6-AB66-1C313CCA0C0C}" dt="2023-03-20T12:13:59.645" v="378"/>
          <ac:spMkLst>
            <pc:docMk/>
            <pc:sldMk cId="127812904" sldId="2142532956"/>
            <ac:spMk id="6" creationId="{5D0FB282-4389-64FF-E7F0-C3EA8BA63CD5}"/>
          </ac:spMkLst>
        </pc:spChg>
        <pc:spChg chg="add del mod modVis">
          <ac:chgData name="Havel, Ales" userId="90458746-abd6-47aa-b501-72f753e6fc06" providerId="ADAL" clId="{182F9AC2-225E-46F6-AB66-1C313CCA0C0C}" dt="2023-03-20T12:14:02.713" v="420"/>
          <ac:spMkLst>
            <pc:docMk/>
            <pc:sldMk cId="127812904" sldId="2142532956"/>
            <ac:spMk id="7" creationId="{4EB393CD-655B-13E0-C19F-3046A842E15F}"/>
          </ac:spMkLst>
        </pc:spChg>
        <pc:spChg chg="add del mod modVis">
          <ac:chgData name="Havel, Ales" userId="90458746-abd6-47aa-b501-72f753e6fc06" providerId="ADAL" clId="{182F9AC2-225E-46F6-AB66-1C313CCA0C0C}" dt="2023-03-20T12:14:03.579" v="450"/>
          <ac:spMkLst>
            <pc:docMk/>
            <pc:sldMk cId="127812904" sldId="2142532956"/>
            <ac:spMk id="8" creationId="{28E8962F-05C9-3A88-F2E1-C8D23766559E}"/>
          </ac:spMkLst>
        </pc:spChg>
        <pc:spChg chg="add del mod modVis">
          <ac:chgData name="Havel, Ales" userId="90458746-abd6-47aa-b501-72f753e6fc06" providerId="ADAL" clId="{182F9AC2-225E-46F6-AB66-1C313CCA0C0C}" dt="2023-03-20T12:14:04.971" v="482"/>
          <ac:spMkLst>
            <pc:docMk/>
            <pc:sldMk cId="127812904" sldId="2142532956"/>
            <ac:spMk id="9" creationId="{430D0B17-36BB-7ABD-7456-EC6BBEAA4055}"/>
          </ac:spMkLst>
        </pc:spChg>
        <pc:spChg chg="add del mod modVis">
          <ac:chgData name="Havel, Ales" userId="90458746-abd6-47aa-b501-72f753e6fc06" providerId="ADAL" clId="{182F9AC2-225E-46F6-AB66-1C313CCA0C0C}" dt="2023-03-20T12:14:05.731" v="510"/>
          <ac:spMkLst>
            <pc:docMk/>
            <pc:sldMk cId="127812904" sldId="2142532956"/>
            <ac:spMk id="10" creationId="{A8284BDE-9886-BF04-E523-DBC5786E0655}"/>
          </ac:spMkLst>
        </pc:spChg>
        <pc:graphicFrameChg chg="add mod ord modVis replST">
          <ac:chgData name="Havel, Ales" userId="90458746-abd6-47aa-b501-72f753e6fc06" providerId="ADAL" clId="{182F9AC2-225E-46F6-AB66-1C313CCA0C0C}" dt="2023-03-20T12:14:05.734" v="512"/>
          <ac:graphicFrameMkLst>
            <pc:docMk/>
            <pc:sldMk cId="127812904" sldId="2142532956"/>
            <ac:graphicFrameMk id="5" creationId="{810A232D-A3CA-E15E-14BB-327082909EC6}"/>
          </ac:graphicFrameMkLst>
        </pc:graphicFrameChg>
      </pc:sldChg>
      <pc:sldChg chg="addSp delSp modSp new add mod">
        <pc:chgData name="Havel, Ales" userId="90458746-abd6-47aa-b501-72f753e6fc06" providerId="ADAL" clId="{182F9AC2-225E-46F6-AB66-1C313CCA0C0C}" dt="2023-03-20T12:22:55.409" v="1132" actId="1076"/>
        <pc:sldMkLst>
          <pc:docMk/>
          <pc:sldMk cId="930092999" sldId="2142532957"/>
        </pc:sldMkLst>
        <pc:spChg chg="del">
          <ac:chgData name="Havel, Ales" userId="90458746-abd6-47aa-b501-72f753e6fc06" providerId="ADAL" clId="{182F9AC2-225E-46F6-AB66-1C313CCA0C0C}" dt="2023-03-20T12:14:16.398" v="515" actId="478"/>
          <ac:spMkLst>
            <pc:docMk/>
            <pc:sldMk cId="930092999" sldId="2142532957"/>
            <ac:spMk id="2" creationId="{648E3E08-A520-6876-3163-688B11DDB5CA}"/>
          </ac:spMkLst>
        </pc:spChg>
        <pc:spChg chg="mod">
          <ac:chgData name="Havel, Ales" userId="90458746-abd6-47aa-b501-72f753e6fc06" providerId="ADAL" clId="{182F9AC2-225E-46F6-AB66-1C313CCA0C0C}" dt="2023-03-20T12:14:36.832" v="791" actId="948"/>
          <ac:spMkLst>
            <pc:docMk/>
            <pc:sldMk cId="930092999" sldId="2142532957"/>
            <ac:spMk id="5" creationId="{5D9D4DE1-1527-893B-8DC7-69F48021F6A4}"/>
          </ac:spMkLst>
        </pc:spChg>
        <pc:spChg chg="add del mod modVis">
          <ac:chgData name="Havel, Ales" userId="90458746-abd6-47aa-b501-72f753e6fc06" providerId="ADAL" clId="{182F9AC2-225E-46F6-AB66-1C313CCA0C0C}" dt="2023-03-20T12:14:26.013" v="563"/>
          <ac:spMkLst>
            <pc:docMk/>
            <pc:sldMk cId="930092999" sldId="2142532957"/>
            <ac:spMk id="7" creationId="{70FEE84A-19A7-B966-711B-FA0F8919A0DB}"/>
          </ac:spMkLst>
        </pc:spChg>
        <pc:spChg chg="add del mod modVis">
          <ac:chgData name="Havel, Ales" userId="90458746-abd6-47aa-b501-72f753e6fc06" providerId="ADAL" clId="{182F9AC2-225E-46F6-AB66-1C313CCA0C0C}" dt="2023-03-20T12:14:27.529" v="595"/>
          <ac:spMkLst>
            <pc:docMk/>
            <pc:sldMk cId="930092999" sldId="2142532957"/>
            <ac:spMk id="8" creationId="{D434DB21-DE12-E0F4-E3B1-56D4035BB4CE}"/>
          </ac:spMkLst>
        </pc:spChg>
        <pc:spChg chg="add del mod modVis">
          <ac:chgData name="Havel, Ales" userId="90458746-abd6-47aa-b501-72f753e6fc06" providerId="ADAL" clId="{182F9AC2-225E-46F6-AB66-1C313CCA0C0C}" dt="2023-03-20T12:14:28.422" v="627"/>
          <ac:spMkLst>
            <pc:docMk/>
            <pc:sldMk cId="930092999" sldId="2142532957"/>
            <ac:spMk id="9" creationId="{CAE9E043-9EB2-A1E5-2226-D42709BA00BD}"/>
          </ac:spMkLst>
        </pc:spChg>
        <pc:spChg chg="add del mod modVis">
          <ac:chgData name="Havel, Ales" userId="90458746-abd6-47aa-b501-72f753e6fc06" providerId="ADAL" clId="{182F9AC2-225E-46F6-AB66-1C313CCA0C0C}" dt="2023-03-20T12:14:29.403" v="658"/>
          <ac:spMkLst>
            <pc:docMk/>
            <pc:sldMk cId="930092999" sldId="2142532957"/>
            <ac:spMk id="10" creationId="{50AC7B29-5189-EC36-4117-6266E3B6D0E7}"/>
          </ac:spMkLst>
        </pc:spChg>
        <pc:spChg chg="add del mod modVis">
          <ac:chgData name="Havel, Ales" userId="90458746-abd6-47aa-b501-72f753e6fc06" providerId="ADAL" clId="{182F9AC2-225E-46F6-AB66-1C313CCA0C0C}" dt="2023-03-20T12:14:31.065" v="688"/>
          <ac:spMkLst>
            <pc:docMk/>
            <pc:sldMk cId="930092999" sldId="2142532957"/>
            <ac:spMk id="11" creationId="{A64285CF-629E-0ED1-9F53-826D60993CCF}"/>
          </ac:spMkLst>
        </pc:spChg>
        <pc:spChg chg="add del mod modVis">
          <ac:chgData name="Havel, Ales" userId="90458746-abd6-47aa-b501-72f753e6fc06" providerId="ADAL" clId="{182F9AC2-225E-46F6-AB66-1C313CCA0C0C}" dt="2023-03-20T12:14:31.962" v="717"/>
          <ac:spMkLst>
            <pc:docMk/>
            <pc:sldMk cId="930092999" sldId="2142532957"/>
            <ac:spMk id="12" creationId="{615F51F8-06BD-A400-E1CA-2EFC4A7C73DB}"/>
          </ac:spMkLst>
        </pc:spChg>
        <pc:spChg chg="add del mod modVis">
          <ac:chgData name="Havel, Ales" userId="90458746-abd6-47aa-b501-72f753e6fc06" providerId="ADAL" clId="{182F9AC2-225E-46F6-AB66-1C313CCA0C0C}" dt="2023-03-20T12:14:34.302" v="754"/>
          <ac:spMkLst>
            <pc:docMk/>
            <pc:sldMk cId="930092999" sldId="2142532957"/>
            <ac:spMk id="13" creationId="{F0A76FC8-FA65-AFAC-F125-82C0EF7B49BB}"/>
          </ac:spMkLst>
        </pc:spChg>
        <pc:spChg chg="add del mod modVis">
          <ac:chgData name="Havel, Ales" userId="90458746-abd6-47aa-b501-72f753e6fc06" providerId="ADAL" clId="{182F9AC2-225E-46F6-AB66-1C313CCA0C0C}" dt="2023-03-20T12:14:35.924" v="785"/>
          <ac:spMkLst>
            <pc:docMk/>
            <pc:sldMk cId="930092999" sldId="2142532957"/>
            <ac:spMk id="14" creationId="{D5783000-EDFC-48C6-7F0B-AFBB7440615F}"/>
          </ac:spMkLst>
        </pc:spChg>
        <pc:spChg chg="add del mod modVis">
          <ac:chgData name="Havel, Ales" userId="90458746-abd6-47aa-b501-72f753e6fc06" providerId="ADAL" clId="{182F9AC2-225E-46F6-AB66-1C313CCA0C0C}" dt="2023-03-20T12:14:36.851" v="815"/>
          <ac:spMkLst>
            <pc:docMk/>
            <pc:sldMk cId="930092999" sldId="2142532957"/>
            <ac:spMk id="15" creationId="{A5EBD588-3DD7-725D-9B80-26303B8C8135}"/>
          </ac:spMkLst>
        </pc:spChg>
        <pc:spChg chg="add del mod">
          <ac:chgData name="Havel, Ales" userId="90458746-abd6-47aa-b501-72f753e6fc06" providerId="ADAL" clId="{182F9AC2-225E-46F6-AB66-1C313CCA0C0C}" dt="2023-03-20T12:17:10" v="828" actId="478"/>
          <ac:spMkLst>
            <pc:docMk/>
            <pc:sldMk cId="930092999" sldId="2142532957"/>
            <ac:spMk id="16" creationId="{33A5C586-56ED-C993-F190-8A9CEB132CFF}"/>
          </ac:spMkLst>
        </pc:spChg>
        <pc:spChg chg="mod">
          <ac:chgData name="Havel, Ales" userId="90458746-abd6-47aa-b501-72f753e6fc06" providerId="ADAL" clId="{182F9AC2-225E-46F6-AB66-1C313CCA0C0C}" dt="2023-03-20T12:17:25.999" v="840" actId="20577"/>
          <ac:spMkLst>
            <pc:docMk/>
            <pc:sldMk cId="930092999" sldId="2142532957"/>
            <ac:spMk id="18" creationId="{2BB3F3E6-31A5-6E91-8A9B-75A9B15C97BE}"/>
          </ac:spMkLst>
        </pc:spChg>
        <pc:spChg chg="mod">
          <ac:chgData name="Havel, Ales" userId="90458746-abd6-47aa-b501-72f753e6fc06" providerId="ADAL" clId="{182F9AC2-225E-46F6-AB66-1C313CCA0C0C}" dt="2023-03-20T12:17:10.902" v="829"/>
          <ac:spMkLst>
            <pc:docMk/>
            <pc:sldMk cId="930092999" sldId="2142532957"/>
            <ac:spMk id="19" creationId="{C4E3CACE-DFC4-F5D0-F743-254A17A80041}"/>
          </ac:spMkLst>
        </pc:spChg>
        <pc:spChg chg="mod">
          <ac:chgData name="Havel, Ales" userId="90458746-abd6-47aa-b501-72f753e6fc06" providerId="ADAL" clId="{182F9AC2-225E-46F6-AB66-1C313CCA0C0C}" dt="2023-03-20T12:17:46.815" v="846" actId="20577"/>
          <ac:spMkLst>
            <pc:docMk/>
            <pc:sldMk cId="930092999" sldId="2142532957"/>
            <ac:spMk id="21" creationId="{530017CF-4DDC-36FF-16A4-54DF2B772679}"/>
          </ac:spMkLst>
        </pc:spChg>
        <pc:spChg chg="mod">
          <ac:chgData name="Havel, Ales" userId="90458746-abd6-47aa-b501-72f753e6fc06" providerId="ADAL" clId="{182F9AC2-225E-46F6-AB66-1C313CCA0C0C}" dt="2023-03-20T12:17:36.288" v="842"/>
          <ac:spMkLst>
            <pc:docMk/>
            <pc:sldMk cId="930092999" sldId="2142532957"/>
            <ac:spMk id="22" creationId="{A7A2A92F-29CC-F47B-54C2-B2F01A0D2C30}"/>
          </ac:spMkLst>
        </pc:spChg>
        <pc:spChg chg="mod">
          <ac:chgData name="Havel, Ales" userId="90458746-abd6-47aa-b501-72f753e6fc06" providerId="ADAL" clId="{182F9AC2-225E-46F6-AB66-1C313CCA0C0C}" dt="2023-03-20T12:17:55.069" v="850" actId="20577"/>
          <ac:spMkLst>
            <pc:docMk/>
            <pc:sldMk cId="930092999" sldId="2142532957"/>
            <ac:spMk id="24" creationId="{C3DAD238-C3F3-1182-4285-B5066CB2D954}"/>
          </ac:spMkLst>
        </pc:spChg>
        <pc:spChg chg="mod">
          <ac:chgData name="Havel, Ales" userId="90458746-abd6-47aa-b501-72f753e6fc06" providerId="ADAL" clId="{182F9AC2-225E-46F6-AB66-1C313CCA0C0C}" dt="2023-03-20T12:17:48.691" v="847"/>
          <ac:spMkLst>
            <pc:docMk/>
            <pc:sldMk cId="930092999" sldId="2142532957"/>
            <ac:spMk id="25" creationId="{BF5EDABA-B8F0-DF61-0D32-11429A69458C}"/>
          </ac:spMkLst>
        </pc:spChg>
        <pc:spChg chg="add mod">
          <ac:chgData name="Havel, Ales" userId="90458746-abd6-47aa-b501-72f753e6fc06" providerId="ADAL" clId="{182F9AC2-225E-46F6-AB66-1C313CCA0C0C}" dt="2023-03-20T12:19:42.997" v="955" actId="20577"/>
          <ac:spMkLst>
            <pc:docMk/>
            <pc:sldMk cId="930092999" sldId="2142532957"/>
            <ac:spMk id="26" creationId="{D6CA6063-FD60-BA99-B9AF-1C45B65920AB}"/>
          </ac:spMkLst>
        </pc:spChg>
        <pc:spChg chg="add mod">
          <ac:chgData name="Havel, Ales" userId="90458746-abd6-47aa-b501-72f753e6fc06" providerId="ADAL" clId="{182F9AC2-225E-46F6-AB66-1C313CCA0C0C}" dt="2023-03-20T12:22:55.409" v="1132" actId="1076"/>
          <ac:spMkLst>
            <pc:docMk/>
            <pc:sldMk cId="930092999" sldId="2142532957"/>
            <ac:spMk id="27" creationId="{E31369D5-04CF-7C6D-444F-EF0FEEBB42B4}"/>
          </ac:spMkLst>
        </pc:spChg>
        <pc:spChg chg="add mod">
          <ac:chgData name="Havel, Ales" userId="90458746-abd6-47aa-b501-72f753e6fc06" providerId="ADAL" clId="{182F9AC2-225E-46F6-AB66-1C313CCA0C0C}" dt="2023-03-20T12:22:47.046" v="1131" actId="20577"/>
          <ac:spMkLst>
            <pc:docMk/>
            <pc:sldMk cId="930092999" sldId="2142532957"/>
            <ac:spMk id="28" creationId="{25E829DB-8E59-5833-B21F-66247331A032}"/>
          </ac:spMkLst>
        </pc:spChg>
        <pc:grpChg chg="add mod">
          <ac:chgData name="Havel, Ales" userId="90458746-abd6-47aa-b501-72f753e6fc06" providerId="ADAL" clId="{182F9AC2-225E-46F6-AB66-1C313CCA0C0C}" dt="2023-03-20T12:17:32.028" v="841" actId="14100"/>
          <ac:grpSpMkLst>
            <pc:docMk/>
            <pc:sldMk cId="930092999" sldId="2142532957"/>
            <ac:grpSpMk id="17" creationId="{5C14772C-78A3-C071-353E-F1AE156F0C8D}"/>
          </ac:grpSpMkLst>
        </pc:grpChg>
        <pc:grpChg chg="add mod">
          <ac:chgData name="Havel, Ales" userId="90458746-abd6-47aa-b501-72f753e6fc06" providerId="ADAL" clId="{182F9AC2-225E-46F6-AB66-1C313CCA0C0C}" dt="2023-03-20T12:17:43.301" v="843" actId="1076"/>
          <ac:grpSpMkLst>
            <pc:docMk/>
            <pc:sldMk cId="930092999" sldId="2142532957"/>
            <ac:grpSpMk id="20" creationId="{E681E979-48C3-FC48-BEB6-1E95CAAB7163}"/>
          </ac:grpSpMkLst>
        </pc:grpChg>
        <pc:grpChg chg="add mod">
          <ac:chgData name="Havel, Ales" userId="90458746-abd6-47aa-b501-72f753e6fc06" providerId="ADAL" clId="{182F9AC2-225E-46F6-AB66-1C313CCA0C0C}" dt="2023-03-20T12:17:52.634" v="848" actId="1076"/>
          <ac:grpSpMkLst>
            <pc:docMk/>
            <pc:sldMk cId="930092999" sldId="2142532957"/>
            <ac:grpSpMk id="23" creationId="{47525EB3-D899-C7DE-03FC-82412B661E8D}"/>
          </ac:grpSpMkLst>
        </pc:grpChg>
        <pc:graphicFrameChg chg="add mod ord modVis replST">
          <ac:chgData name="Havel, Ales" userId="90458746-abd6-47aa-b501-72f753e6fc06" providerId="ADAL" clId="{182F9AC2-225E-46F6-AB66-1C313CCA0C0C}" dt="2023-03-20T12:14:36.853" v="817"/>
          <ac:graphicFrameMkLst>
            <pc:docMk/>
            <pc:sldMk cId="930092999" sldId="2142532957"/>
            <ac:graphicFrameMk id="6" creationId="{1AC60212-8027-A659-A181-5D73ECA043EF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14B4F932-6CAA-4259-8195-1DC9FB511F4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701013" y="8749865"/>
            <a:ext cx="4319987" cy="1876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sz="1000" dirty="0"/>
              <a:t>Hilti PowerPoint Template | April 2021</a:t>
            </a:r>
            <a:endParaRPr lang="en-US" sz="1000" noProof="0" dirty="0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64FBF31F-E36A-4AB1-8EFD-346B70E5B0E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379712" y="8750624"/>
            <a:ext cx="361288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4F94C181-13F3-4F4A-8502-D321961B5950}"/>
              </a:ext>
            </a:extLst>
          </p:cNvPr>
          <p:cNvSpPr>
            <a:spLocks noChangeAspect="1"/>
          </p:cNvSpPr>
          <p:nvPr/>
        </p:nvSpPr>
        <p:spPr bwMode="auto">
          <a:xfrm>
            <a:off x="6184037" y="8742557"/>
            <a:ext cx="127259" cy="216000"/>
          </a:xfrm>
          <a:custGeom>
            <a:avLst/>
            <a:gdLst>
              <a:gd name="T0" fmla="*/ 1544 w 1570"/>
              <a:gd name="T1" fmla="*/ 0 h 2675"/>
              <a:gd name="T2" fmla="*/ 1544 w 1570"/>
              <a:gd name="T3" fmla="*/ 0 h 2675"/>
              <a:gd name="T4" fmla="*/ 0 w 1570"/>
              <a:gd name="T5" fmla="*/ 2675 h 2675"/>
              <a:gd name="T6" fmla="*/ 26 w 1570"/>
              <a:gd name="T7" fmla="*/ 2675 h 2675"/>
              <a:gd name="T8" fmla="*/ 1570 w 1570"/>
              <a:gd name="T9" fmla="*/ 0 h 2675"/>
              <a:gd name="T10" fmla="*/ 1544 w 1570"/>
              <a:gd name="T11" fmla="*/ 0 h 2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70" h="2675">
                <a:moveTo>
                  <a:pt x="1544" y="0"/>
                </a:moveTo>
                <a:lnTo>
                  <a:pt x="1544" y="0"/>
                </a:lnTo>
                <a:lnTo>
                  <a:pt x="0" y="2675"/>
                </a:lnTo>
                <a:lnTo>
                  <a:pt x="26" y="2675"/>
                </a:lnTo>
                <a:lnTo>
                  <a:pt x="1570" y="0"/>
                </a:lnTo>
                <a:lnTo>
                  <a:pt x="1544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Rechteck 7">
            <a:extLst>
              <a:ext uri="{FF2B5EF4-FFF2-40B4-BE49-F238E27FC236}">
                <a16:creationId xmlns:a16="http://schemas.microsoft.com/office/drawing/2014/main" id="{0F5FE7C7-A04F-4666-900A-B27056F1E8A9}"/>
              </a:ext>
            </a:extLst>
          </p:cNvPr>
          <p:cNvSpPr/>
          <p:nvPr/>
        </p:nvSpPr>
        <p:spPr>
          <a:xfrm>
            <a:off x="6243630" y="8710313"/>
            <a:ext cx="152079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" name="Rechteck 10">
            <a:extLst>
              <a:ext uri="{FF2B5EF4-FFF2-40B4-BE49-F238E27FC236}">
                <a16:creationId xmlns:a16="http://schemas.microsoft.com/office/drawing/2014/main" id="{F932D2EF-1A64-4524-BCD8-2161E923D7F4}"/>
              </a:ext>
            </a:extLst>
          </p:cNvPr>
          <p:cNvSpPr/>
          <p:nvPr/>
        </p:nvSpPr>
        <p:spPr>
          <a:xfrm>
            <a:off x="6127244" y="8958316"/>
            <a:ext cx="152079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94094E35-BD3A-44F5-82C1-6B51CA922B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7000" y="8748000"/>
            <a:ext cx="870754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730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7000" y="324000"/>
            <a:ext cx="4704000" cy="2646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F3D890A-191F-4D46-8A21-FDDA3B448C5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701013" y="8749865"/>
            <a:ext cx="4319987" cy="1876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sz="1000" dirty="0"/>
              <a:t>Hilti PowerPoint Template | April 2021</a:t>
            </a:r>
            <a:endParaRPr lang="en-US" sz="1000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C25BD0C4-E29D-49CB-93CE-FB6A04A037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6379712" y="8750624"/>
            <a:ext cx="361288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8DB6189D-CAEC-497D-B268-1578A435FFD9}"/>
              </a:ext>
            </a:extLst>
          </p:cNvPr>
          <p:cNvSpPr>
            <a:spLocks noChangeAspect="1"/>
          </p:cNvSpPr>
          <p:nvPr/>
        </p:nvSpPr>
        <p:spPr bwMode="auto">
          <a:xfrm>
            <a:off x="6184037" y="8742557"/>
            <a:ext cx="127259" cy="216000"/>
          </a:xfrm>
          <a:custGeom>
            <a:avLst/>
            <a:gdLst>
              <a:gd name="T0" fmla="*/ 1544 w 1570"/>
              <a:gd name="T1" fmla="*/ 0 h 2675"/>
              <a:gd name="T2" fmla="*/ 1544 w 1570"/>
              <a:gd name="T3" fmla="*/ 0 h 2675"/>
              <a:gd name="T4" fmla="*/ 0 w 1570"/>
              <a:gd name="T5" fmla="*/ 2675 h 2675"/>
              <a:gd name="T6" fmla="*/ 26 w 1570"/>
              <a:gd name="T7" fmla="*/ 2675 h 2675"/>
              <a:gd name="T8" fmla="*/ 1570 w 1570"/>
              <a:gd name="T9" fmla="*/ 0 h 2675"/>
              <a:gd name="T10" fmla="*/ 1544 w 1570"/>
              <a:gd name="T11" fmla="*/ 0 h 2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70" h="2675">
                <a:moveTo>
                  <a:pt x="1544" y="0"/>
                </a:moveTo>
                <a:lnTo>
                  <a:pt x="1544" y="0"/>
                </a:lnTo>
                <a:lnTo>
                  <a:pt x="0" y="2675"/>
                </a:lnTo>
                <a:lnTo>
                  <a:pt x="26" y="2675"/>
                </a:lnTo>
                <a:lnTo>
                  <a:pt x="1570" y="0"/>
                </a:lnTo>
                <a:lnTo>
                  <a:pt x="1544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" name="Rechteck 7">
            <a:extLst>
              <a:ext uri="{FF2B5EF4-FFF2-40B4-BE49-F238E27FC236}">
                <a16:creationId xmlns:a16="http://schemas.microsoft.com/office/drawing/2014/main" id="{F0B59A60-1ACD-41FA-9D17-2689A5DD5C99}"/>
              </a:ext>
            </a:extLst>
          </p:cNvPr>
          <p:cNvSpPr/>
          <p:nvPr/>
        </p:nvSpPr>
        <p:spPr>
          <a:xfrm>
            <a:off x="6243630" y="8710313"/>
            <a:ext cx="152079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" name="Rechteck 10">
            <a:extLst>
              <a:ext uri="{FF2B5EF4-FFF2-40B4-BE49-F238E27FC236}">
                <a16:creationId xmlns:a16="http://schemas.microsoft.com/office/drawing/2014/main" id="{5B1DC4F0-4E85-4A64-962F-E2385F7C2179}"/>
              </a:ext>
            </a:extLst>
          </p:cNvPr>
          <p:cNvSpPr/>
          <p:nvPr/>
        </p:nvSpPr>
        <p:spPr>
          <a:xfrm>
            <a:off x="6127244" y="8958316"/>
            <a:ext cx="152079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4" name="Notes Placeholder 13">
            <a:extLst>
              <a:ext uri="{FF2B5EF4-FFF2-40B4-BE49-F238E27FC236}">
                <a16:creationId xmlns:a16="http://schemas.microsoft.com/office/drawing/2014/main" id="{A661A81D-95C1-452D-94DA-9C4066FBE99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77000" y="3276000"/>
            <a:ext cx="6048000" cy="5112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 err="1"/>
              <a:t>Filevel</a:t>
            </a:r>
            <a:endParaRPr lang="en-US" dirty="0"/>
          </a:p>
          <a:p>
            <a:pPr lvl="5"/>
            <a:r>
              <a:rPr lang="en-US" dirty="0"/>
              <a:t>5</a:t>
            </a:r>
          </a:p>
          <a:p>
            <a:pPr lvl="6"/>
            <a:r>
              <a:rPr lang="en-US" dirty="0"/>
              <a:t>6</a:t>
            </a:r>
          </a:p>
          <a:p>
            <a:pPr lvl="7"/>
            <a:r>
              <a:rPr lang="en-US" dirty="0"/>
              <a:t>7</a:t>
            </a:r>
          </a:p>
          <a:p>
            <a:pPr lvl="8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895AE63D-C204-43A9-BC02-84E1017AA6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7000" y="8748000"/>
            <a:ext cx="870754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7249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0975" indent="-180975" algn="l" defTabSz="1219170" rtl="0" eaLnBrk="1" latinLnBrk="0" hangingPunct="1">
      <a:lnSpc>
        <a:spcPct val="107000"/>
      </a:lnSpc>
      <a:spcBef>
        <a:spcPts val="600"/>
      </a:spcBef>
      <a:buClr>
        <a:schemeClr val="accent5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1219170" rtl="0" eaLnBrk="1" latinLnBrk="0" hangingPunct="1">
      <a:lnSpc>
        <a:spcPct val="107000"/>
      </a:lnSpc>
      <a:spcBef>
        <a:spcPts val="600"/>
      </a:spcBef>
      <a:buFont typeface="Arial" panose="020B0604020202020204" pitchFamily="34" charset="0"/>
      <a:buNone/>
      <a:defRPr sz="1400" b="1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1219170" rtl="0" eaLnBrk="1" latinLnBrk="0" hangingPunct="1">
      <a:lnSpc>
        <a:spcPct val="107000"/>
      </a:lnSpc>
      <a:spcBef>
        <a:spcPts val="600"/>
      </a:spcBef>
      <a:buClr>
        <a:schemeClr val="accent5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1219170" rtl="0" eaLnBrk="1" latinLnBrk="0" hangingPunct="1">
      <a:lnSpc>
        <a:spcPct val="107000"/>
      </a:lnSpc>
      <a:spcBef>
        <a:spcPts val="600"/>
      </a:spcBef>
      <a:buClr>
        <a:schemeClr val="accent5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1219170" rtl="0" eaLnBrk="1" latinLnBrk="0" hangingPunct="1">
      <a:lnSpc>
        <a:spcPct val="107000"/>
      </a:lnSpc>
      <a:spcBef>
        <a:spcPts val="600"/>
      </a:spcBef>
      <a:buClr>
        <a:schemeClr val="accent5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901700" indent="-180975" algn="l" defTabSz="1219170" rtl="0" eaLnBrk="1" latinLnBrk="0" hangingPunct="1">
      <a:lnSpc>
        <a:spcPct val="107000"/>
      </a:lnSpc>
      <a:spcBef>
        <a:spcPts val="600"/>
      </a:spcBef>
      <a:buClr>
        <a:schemeClr val="accent5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901700" indent="-180975" algn="l" defTabSz="1219170" rtl="0" eaLnBrk="1" latinLnBrk="0" hangingPunct="1">
      <a:lnSpc>
        <a:spcPct val="107000"/>
      </a:lnSpc>
      <a:spcBef>
        <a:spcPts val="600"/>
      </a:spcBef>
      <a:buClr>
        <a:schemeClr val="accent5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901700" indent="-180975" algn="l" defTabSz="1219170" rtl="0" eaLnBrk="1" latinLnBrk="0" hangingPunct="1">
      <a:lnSpc>
        <a:spcPct val="107000"/>
      </a:lnSpc>
      <a:spcBef>
        <a:spcPts val="600"/>
      </a:spcBef>
      <a:buClr>
        <a:schemeClr val="accent5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901700" indent="-180975" algn="l" defTabSz="1219170" rtl="0" eaLnBrk="1" latinLnBrk="0" hangingPunct="1">
      <a:lnSpc>
        <a:spcPct val="107000"/>
      </a:lnSpc>
      <a:spcBef>
        <a:spcPts val="600"/>
      </a:spcBef>
      <a:buClr>
        <a:schemeClr val="accent5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Z/A</a:t>
            </a:r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9892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A</a:t>
            </a:r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48861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476250" y="323850"/>
            <a:ext cx="4705350" cy="2646363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A/Z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4178FD-43BF-4968-A299-3450DC0CDF97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65929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sv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01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Logo">
            <a:extLst>
              <a:ext uri="{FF2B5EF4-FFF2-40B4-BE49-F238E27FC236}">
                <a16:creationId xmlns:a16="http://schemas.microsoft.com/office/drawing/2014/main" id="{484C9887-7684-4FB6-9A9C-EB3371F456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408000" y="405000"/>
            <a:ext cx="2160000" cy="509021"/>
          </a:xfrm>
          <a:prstGeom prst="rect">
            <a:avLst/>
          </a:prstGeom>
        </p:spPr>
      </p:pic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151646" y="-1285"/>
            <a:ext cx="10040355" cy="6862460"/>
          </a:xfrm>
          <a:custGeom>
            <a:avLst/>
            <a:gdLst>
              <a:gd name="connsiteX0" fmla="*/ 2963031 w 7530266"/>
              <a:gd name="connsiteY0" fmla="*/ 0 h 5145881"/>
              <a:gd name="connsiteX1" fmla="*/ 7530266 w 7530266"/>
              <a:gd name="connsiteY1" fmla="*/ 0 h 5145881"/>
              <a:gd name="connsiteX2" fmla="*/ 7530266 w 7530266"/>
              <a:gd name="connsiteY2" fmla="*/ 5143500 h 5145881"/>
              <a:gd name="connsiteX3" fmla="*/ 0 w 7530266"/>
              <a:gd name="connsiteY3" fmla="*/ 5145881 h 5145881"/>
              <a:gd name="connsiteX4" fmla="*/ 2963031 w 7530266"/>
              <a:gd name="connsiteY4" fmla="*/ 0 h 5145881"/>
              <a:gd name="connsiteX0" fmla="*/ 2970175 w 7530266"/>
              <a:gd name="connsiteY0" fmla="*/ 2381 h 5145881"/>
              <a:gd name="connsiteX1" fmla="*/ 7530266 w 7530266"/>
              <a:gd name="connsiteY1" fmla="*/ 0 h 5145881"/>
              <a:gd name="connsiteX2" fmla="*/ 7530266 w 7530266"/>
              <a:gd name="connsiteY2" fmla="*/ 5143500 h 5145881"/>
              <a:gd name="connsiteX3" fmla="*/ 0 w 7530266"/>
              <a:gd name="connsiteY3" fmla="*/ 5145881 h 5145881"/>
              <a:gd name="connsiteX4" fmla="*/ 2970175 w 7530266"/>
              <a:gd name="connsiteY4" fmla="*/ 2381 h 5145881"/>
              <a:gd name="connsiteX0" fmla="*/ 2973520 w 7530266"/>
              <a:gd name="connsiteY0" fmla="*/ 0 h 5146845"/>
              <a:gd name="connsiteX1" fmla="*/ 7530266 w 7530266"/>
              <a:gd name="connsiteY1" fmla="*/ 964 h 5146845"/>
              <a:gd name="connsiteX2" fmla="*/ 7530266 w 7530266"/>
              <a:gd name="connsiteY2" fmla="*/ 5144464 h 5146845"/>
              <a:gd name="connsiteX3" fmla="*/ 0 w 7530266"/>
              <a:gd name="connsiteY3" fmla="*/ 5146845 h 5146845"/>
              <a:gd name="connsiteX4" fmla="*/ 2973520 w 7530266"/>
              <a:gd name="connsiteY4" fmla="*/ 0 h 5146845"/>
              <a:gd name="connsiteX0" fmla="*/ 2968758 w 7530266"/>
              <a:gd name="connsiteY0" fmla="*/ 0 h 5146845"/>
              <a:gd name="connsiteX1" fmla="*/ 7530266 w 7530266"/>
              <a:gd name="connsiteY1" fmla="*/ 964 h 5146845"/>
              <a:gd name="connsiteX2" fmla="*/ 7530266 w 7530266"/>
              <a:gd name="connsiteY2" fmla="*/ 5144464 h 5146845"/>
              <a:gd name="connsiteX3" fmla="*/ 0 w 7530266"/>
              <a:gd name="connsiteY3" fmla="*/ 5146845 h 5146845"/>
              <a:gd name="connsiteX4" fmla="*/ 2968758 w 7530266"/>
              <a:gd name="connsiteY4" fmla="*/ 0 h 5146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30266" h="5146845">
                <a:moveTo>
                  <a:pt x="2968758" y="0"/>
                </a:moveTo>
                <a:lnTo>
                  <a:pt x="7530266" y="964"/>
                </a:lnTo>
                <a:lnTo>
                  <a:pt x="7530266" y="5144464"/>
                </a:lnTo>
                <a:lnTo>
                  <a:pt x="0" y="5146845"/>
                </a:lnTo>
                <a:cubicBezTo>
                  <a:pt x="996408" y="3432345"/>
                  <a:pt x="1972350" y="1714500"/>
                  <a:pt x="296875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lIns="90000" tIns="46800" rIns="90000" bIns="46800" rtlCol="0">
            <a:noAutofit/>
          </a:bodyPr>
          <a:lstStyle>
            <a:lvl1pPr marL="239994" indent="-239994" algn="r">
              <a:buNone/>
              <a:defRPr lang="de-DE" dirty="0"/>
            </a:lvl1pPr>
          </a:lstStyle>
          <a:p>
            <a:pPr marL="0" lvl="0" indent="0"/>
            <a:r>
              <a:rPr lang="en-US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8" y="1460940"/>
            <a:ext cx="3887787" cy="1139967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Click to edit Master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8" y="3140969"/>
            <a:ext cx="3335750" cy="874044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1pPr>
            <a:lvl2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2pPr>
            <a:lvl3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3pPr>
            <a:lvl4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4pPr>
            <a:lvl5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5pPr>
            <a:lvl6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r>
              <a:rPr lang="en-US" noProof="0" dirty="0"/>
              <a:t>Click to edit Master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43606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olored are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3">
            <a:extLst>
              <a:ext uri="{FF2B5EF4-FFF2-40B4-BE49-F238E27FC236}">
                <a16:creationId xmlns:a16="http://schemas.microsoft.com/office/drawing/2014/main" id="{4432CC70-9ECB-4BF8-80FE-3140A6E49078}"/>
              </a:ext>
            </a:extLst>
          </p:cNvPr>
          <p:cNvSpPr/>
          <p:nvPr/>
        </p:nvSpPr>
        <p:spPr bwMode="gray">
          <a:xfrm>
            <a:off x="0" y="-1"/>
            <a:ext cx="12192000" cy="63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266700" indent="-266700">
              <a:spcBef>
                <a:spcPts val="1000"/>
              </a:spcBef>
              <a:buClr>
                <a:srgbClr val="A19DA2"/>
              </a:buClr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ED1AA2E-EBD3-4EC3-A0BB-E5AAF80F9E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15654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olored are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6">
            <a:extLst>
              <a:ext uri="{FF2B5EF4-FFF2-40B4-BE49-F238E27FC236}">
                <a16:creationId xmlns:a16="http://schemas.microsoft.com/office/drawing/2014/main" id="{EDF3D851-1756-4790-A355-7547456FFD38}"/>
              </a:ext>
            </a:extLst>
          </p:cNvPr>
          <p:cNvSpPr/>
          <p:nvPr/>
        </p:nvSpPr>
        <p:spPr bwMode="gray">
          <a:xfrm>
            <a:off x="0" y="0"/>
            <a:ext cx="12192000" cy="6309613"/>
          </a:xfrm>
          <a:prstGeom prst="rect">
            <a:avLst/>
          </a:prstGeom>
          <a:solidFill>
            <a:srgbClr val="7A7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266700" indent="-266700">
              <a:spcBef>
                <a:spcPts val="10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ED1AA2E-EBD3-4EC3-A0BB-E5AAF80F9E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461759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/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6D89568-D22C-460F-8015-1A42C75A03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</a:t>
            </a:r>
            <a:endParaRPr lang="en-US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26541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4" progId="TCLayout.ActiveDocument.1">
                  <p:embed/>
                </p:oleObj>
              </mc:Choice>
              <mc:Fallback>
                <p:oleObj name="think-cell Slide" r:id="rId4" imgW="415" imgH="41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5C59004-476F-4FD2-8481-2B6532130C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5178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/Sub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B7545B-5D67-4767-88F6-0D90429B67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spcBef>
                <a:spcPts val="1000"/>
              </a:spcBef>
              <a:buClr>
                <a:srgbClr val="A19DA2"/>
              </a:buClr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2EE9D1FB-F7BF-4BF0-ACEB-7FC700415B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78114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/Sub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BFCA13-A8B0-4DA3-BD23-E74C07F457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7" name="Rechteck 7"/>
          <p:cNvSpPr/>
          <p:nvPr/>
        </p:nvSpPr>
        <p:spPr bwMode="gray">
          <a:xfrm>
            <a:off x="8211670" y="0"/>
            <a:ext cx="3980329" cy="6858000"/>
          </a:xfrm>
          <a:custGeom>
            <a:avLst/>
            <a:gdLst>
              <a:gd name="connsiteX0" fmla="*/ 3629319 w 5724128"/>
              <a:gd name="connsiteY0" fmla="*/ 45244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3629319 w 5724128"/>
              <a:gd name="connsiteY4" fmla="*/ 45244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0 w 5724128"/>
              <a:gd name="connsiteY0" fmla="*/ 514350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4128" h="5143500">
                <a:moveTo>
                  <a:pt x="0" y="5143500"/>
                </a:moveTo>
                <a:lnTo>
                  <a:pt x="5724128" y="0"/>
                </a:lnTo>
                <a:lnTo>
                  <a:pt x="572412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07988" y="1628775"/>
            <a:ext cx="8711438" cy="4392613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54B3EEEF-A498-4F04-AC6E-655D805C5B0A}"/>
              </a:ext>
            </a:extLst>
          </p:cNvPr>
          <p:cNvSpPr>
            <a:spLocks noChangeAspect="1"/>
          </p:cNvSpPr>
          <p:nvPr/>
        </p:nvSpPr>
        <p:spPr bwMode="gray">
          <a:xfrm>
            <a:off x="11228917" y="6462248"/>
            <a:ext cx="127259" cy="216000"/>
          </a:xfrm>
          <a:custGeom>
            <a:avLst/>
            <a:gdLst>
              <a:gd name="T0" fmla="*/ 1544 w 1570"/>
              <a:gd name="T1" fmla="*/ 0 h 2675"/>
              <a:gd name="T2" fmla="*/ 1544 w 1570"/>
              <a:gd name="T3" fmla="*/ 0 h 2675"/>
              <a:gd name="T4" fmla="*/ 0 w 1570"/>
              <a:gd name="T5" fmla="*/ 2675 h 2675"/>
              <a:gd name="T6" fmla="*/ 26 w 1570"/>
              <a:gd name="T7" fmla="*/ 2675 h 2675"/>
              <a:gd name="T8" fmla="*/ 1570 w 1570"/>
              <a:gd name="T9" fmla="*/ 0 h 2675"/>
              <a:gd name="T10" fmla="*/ 1544 w 1570"/>
              <a:gd name="T11" fmla="*/ 0 h 2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70" h="2675">
                <a:moveTo>
                  <a:pt x="1544" y="0"/>
                </a:moveTo>
                <a:lnTo>
                  <a:pt x="1544" y="0"/>
                </a:lnTo>
                <a:lnTo>
                  <a:pt x="0" y="2675"/>
                </a:lnTo>
                <a:lnTo>
                  <a:pt x="26" y="2675"/>
                </a:lnTo>
                <a:lnTo>
                  <a:pt x="1570" y="0"/>
                </a:lnTo>
                <a:lnTo>
                  <a:pt x="1544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B733DCD-D0ED-471A-8EE4-20DA9415D183}"/>
              </a:ext>
            </a:extLst>
          </p:cNvPr>
          <p:cNvSpPr/>
          <p:nvPr/>
        </p:nvSpPr>
        <p:spPr bwMode="gray">
          <a:xfrm>
            <a:off x="11288510" y="6430004"/>
            <a:ext cx="152079" cy="3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BB86EED-8D84-4E9A-BAC4-43E32953B56B}"/>
              </a:ext>
            </a:extLst>
          </p:cNvPr>
          <p:cNvSpPr/>
          <p:nvPr/>
        </p:nvSpPr>
        <p:spPr bwMode="gray">
          <a:xfrm>
            <a:off x="11172124" y="6678007"/>
            <a:ext cx="152079" cy="3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8F882618-E717-4461-9DA4-7269B0C40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33045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/Subtitl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 bwMode="gray">
          <a:xfrm>
            <a:off x="0" y="-1"/>
            <a:ext cx="12192000" cy="631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6E14674-A8B8-486E-A33B-2026846C75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spcBef>
                <a:spcPts val="1000"/>
              </a:spcBef>
              <a:buClr>
                <a:schemeClr val="tx1"/>
              </a:buClr>
              <a:defRPr/>
            </a:lvl1pPr>
            <a:lvl2pPr>
              <a:spcBef>
                <a:spcPts val="600"/>
              </a:spcBef>
              <a:buClr>
                <a:schemeClr val="tx1"/>
              </a:buClr>
              <a:defRPr/>
            </a:lvl2pPr>
            <a:lvl3pPr>
              <a:spcBef>
                <a:spcPts val="600"/>
              </a:spcBef>
              <a:buClr>
                <a:schemeClr val="tx1"/>
              </a:buClr>
              <a:defRPr/>
            </a:lvl3pPr>
            <a:lvl4pPr>
              <a:spcBef>
                <a:spcPts val="600"/>
              </a:spcBef>
              <a:buClr>
                <a:schemeClr val="tx1"/>
              </a:buClr>
              <a:defRPr/>
            </a:lvl4pPr>
            <a:lvl5pPr>
              <a:spcBef>
                <a:spcPts val="600"/>
              </a:spcBef>
              <a:buClr>
                <a:schemeClr val="tx1"/>
              </a:buClr>
              <a:defRPr/>
            </a:lvl5pPr>
            <a:lvl6pPr>
              <a:buClr>
                <a:schemeClr val="tx1"/>
              </a:buClr>
              <a:defRPr/>
            </a:lvl6pPr>
            <a:lvl7pPr>
              <a:buClr>
                <a:schemeClr val="tx1"/>
              </a:buClr>
              <a:defRPr/>
            </a:lvl7pPr>
            <a:lvl8pPr>
              <a:buClr>
                <a:schemeClr val="tx1"/>
              </a:buClr>
              <a:defRPr/>
            </a:lvl8pPr>
            <a:lvl9pPr>
              <a:buClr>
                <a:schemeClr val="tx1"/>
              </a:buClr>
              <a:defRPr/>
            </a:lvl9pPr>
          </a:lstStyle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E8EDBE-101B-4CEF-B0FE-0FB2A8C46F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52714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/Subtitl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gray">
          <a:xfrm>
            <a:off x="0" y="0"/>
            <a:ext cx="12192000" cy="6309613"/>
          </a:xfrm>
          <a:prstGeom prst="rect">
            <a:avLst/>
          </a:prstGeom>
          <a:solidFill>
            <a:srgbClr val="7A7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185E6F-5A43-4221-A518-7ACE31E21E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spcBef>
                <a:spcPts val="10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  <a:p>
            <a:pPr lvl="0"/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01297EAC-57A1-4653-A0D5-30F5A986A3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348358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 bwMode="gray">
          <a:xfrm>
            <a:off x="478366" y="6261315"/>
            <a:ext cx="1133026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/>
          </a:p>
        </p:txBody>
      </p:sp>
      <p:sp>
        <p:nvSpPr>
          <p:cNvPr id="9" name="object 3"/>
          <p:cNvSpPr/>
          <p:nvPr/>
        </p:nvSpPr>
        <p:spPr bwMode="gray">
          <a:xfrm>
            <a:off x="0" y="0"/>
            <a:ext cx="12192000" cy="6309613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629000"/>
            <a:ext cx="8712348" cy="151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Click to edit Master </a:t>
            </a:r>
            <a:r>
              <a:rPr lang="en-US" noProof="0" dirty="0" err="1"/>
              <a:t>titlE</a:t>
            </a:r>
            <a:endParaRPr lang="en-US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5BCA23B-AFB3-4B91-8CB9-C84FE5D584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Konference Červený kohout | Duben 2024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9BB3E24-4476-46A5-8CFD-EF46BE9795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975178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 bwMode="gray">
          <a:xfrm>
            <a:off x="0" y="0"/>
            <a:ext cx="12192000" cy="6309613"/>
          </a:xfrm>
          <a:prstGeom prst="rect">
            <a:avLst/>
          </a:prstGeom>
          <a:solidFill>
            <a:srgbClr val="7A7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629000"/>
            <a:ext cx="8712348" cy="151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6A12BC1-0647-4853-8416-5A5D6DF8A9E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Konference Červený kohout | Duben 2024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5610E1E-EAAA-4BDC-B026-5CF7A0B1A2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51862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3"/>
          <p:cNvSpPr/>
          <p:nvPr/>
        </p:nvSpPr>
        <p:spPr bwMode="gray">
          <a:xfrm>
            <a:off x="0" y="0"/>
            <a:ext cx="12192000" cy="6309613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629000"/>
            <a:ext cx="7200011" cy="151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r>
              <a:rPr lang="en-US" noProof="0" dirty="0" err="1"/>
              <a:t>titlE</a:t>
            </a:r>
            <a:endParaRPr lang="en-US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5BCA23B-AFB3-4B91-8CB9-C84FE5D584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Konference Červený kohout | Duben 2024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9BB3E24-4476-46A5-8CFD-EF46BE9795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50CA8D7C-B784-4BCA-9D80-C3388554E119}"/>
              </a:ext>
            </a:extLst>
          </p:cNvPr>
          <p:cNvSpPr/>
          <p:nvPr/>
        </p:nvSpPr>
        <p:spPr bwMode="gray">
          <a:xfrm>
            <a:off x="7624055" y="1200987"/>
            <a:ext cx="2046995" cy="3427412"/>
          </a:xfrm>
          <a:prstGeom prst="parallelogram">
            <a:avLst>
              <a:gd name="adj" fmla="val 9714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660768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02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582837" y="-3960"/>
            <a:ext cx="7609164" cy="6861959"/>
          </a:xfrm>
          <a:custGeom>
            <a:avLst/>
            <a:gdLst>
              <a:gd name="connsiteX0" fmla="*/ 2979700 w 5724128"/>
              <a:gd name="connsiteY0" fmla="*/ 2381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2979700 w 5724128"/>
              <a:gd name="connsiteY4" fmla="*/ 2381 h 5143500"/>
              <a:gd name="connsiteX0" fmla="*/ 2970175 w 5714603"/>
              <a:gd name="connsiteY0" fmla="*/ 2381 h 5145881"/>
              <a:gd name="connsiteX1" fmla="*/ 5714603 w 5714603"/>
              <a:gd name="connsiteY1" fmla="*/ 0 h 5145881"/>
              <a:gd name="connsiteX2" fmla="*/ 5714603 w 5714603"/>
              <a:gd name="connsiteY2" fmla="*/ 5143500 h 5145881"/>
              <a:gd name="connsiteX3" fmla="*/ 0 w 5714603"/>
              <a:gd name="connsiteY3" fmla="*/ 5145881 h 5145881"/>
              <a:gd name="connsiteX4" fmla="*/ 2970175 w 5714603"/>
              <a:gd name="connsiteY4" fmla="*/ 2381 h 5145881"/>
              <a:gd name="connsiteX0" fmla="*/ 2967207 w 5711635"/>
              <a:gd name="connsiteY0" fmla="*/ 2381 h 5143500"/>
              <a:gd name="connsiteX1" fmla="*/ 5711635 w 5711635"/>
              <a:gd name="connsiteY1" fmla="*/ 0 h 5143500"/>
              <a:gd name="connsiteX2" fmla="*/ 5711635 w 5711635"/>
              <a:gd name="connsiteY2" fmla="*/ 5143500 h 5143500"/>
              <a:gd name="connsiteX3" fmla="*/ 0 w 5711635"/>
              <a:gd name="connsiteY3" fmla="*/ 5142912 h 5143500"/>
              <a:gd name="connsiteX4" fmla="*/ 2967207 w 5711635"/>
              <a:gd name="connsiteY4" fmla="*/ 2381 h 5143500"/>
              <a:gd name="connsiteX0" fmla="*/ 2967207 w 5711635"/>
              <a:gd name="connsiteY0" fmla="*/ 0 h 5144087"/>
              <a:gd name="connsiteX1" fmla="*/ 5711635 w 5711635"/>
              <a:gd name="connsiteY1" fmla="*/ 587 h 5144087"/>
              <a:gd name="connsiteX2" fmla="*/ 5711635 w 5711635"/>
              <a:gd name="connsiteY2" fmla="*/ 5144087 h 5144087"/>
              <a:gd name="connsiteX3" fmla="*/ 0 w 5711635"/>
              <a:gd name="connsiteY3" fmla="*/ 5143499 h 5144087"/>
              <a:gd name="connsiteX4" fmla="*/ 2967207 w 5711635"/>
              <a:gd name="connsiteY4" fmla="*/ 0 h 5144087"/>
              <a:gd name="connsiteX0" fmla="*/ 2960063 w 5704491"/>
              <a:gd name="connsiteY0" fmla="*/ 0 h 5144087"/>
              <a:gd name="connsiteX1" fmla="*/ 5704491 w 5704491"/>
              <a:gd name="connsiteY1" fmla="*/ 587 h 5144087"/>
              <a:gd name="connsiteX2" fmla="*/ 5704491 w 5704491"/>
              <a:gd name="connsiteY2" fmla="*/ 5144087 h 5144087"/>
              <a:gd name="connsiteX3" fmla="*/ 0 w 5704491"/>
              <a:gd name="connsiteY3" fmla="*/ 5141118 h 5144087"/>
              <a:gd name="connsiteX4" fmla="*/ 2960063 w 5704491"/>
              <a:gd name="connsiteY4" fmla="*/ 0 h 5144087"/>
              <a:gd name="connsiteX0" fmla="*/ 2962444 w 5704491"/>
              <a:gd name="connsiteY0" fmla="*/ 1794 h 5143500"/>
              <a:gd name="connsiteX1" fmla="*/ 5704491 w 5704491"/>
              <a:gd name="connsiteY1" fmla="*/ 0 h 5143500"/>
              <a:gd name="connsiteX2" fmla="*/ 5704491 w 5704491"/>
              <a:gd name="connsiteY2" fmla="*/ 5143500 h 5143500"/>
              <a:gd name="connsiteX3" fmla="*/ 0 w 5704491"/>
              <a:gd name="connsiteY3" fmla="*/ 5140531 h 5143500"/>
              <a:gd name="connsiteX4" fmla="*/ 2962444 w 5704491"/>
              <a:gd name="connsiteY4" fmla="*/ 1794 h 5143500"/>
              <a:gd name="connsiteX0" fmla="*/ 2967207 w 5704491"/>
              <a:gd name="connsiteY0" fmla="*/ 0 h 5146469"/>
              <a:gd name="connsiteX1" fmla="*/ 5704491 w 5704491"/>
              <a:gd name="connsiteY1" fmla="*/ 2969 h 5146469"/>
              <a:gd name="connsiteX2" fmla="*/ 5704491 w 5704491"/>
              <a:gd name="connsiteY2" fmla="*/ 5146469 h 5146469"/>
              <a:gd name="connsiteX3" fmla="*/ 0 w 5704491"/>
              <a:gd name="connsiteY3" fmla="*/ 5143500 h 5146469"/>
              <a:gd name="connsiteX4" fmla="*/ 2967207 w 5704491"/>
              <a:gd name="connsiteY4" fmla="*/ 0 h 5146469"/>
              <a:gd name="connsiteX0" fmla="*/ 2969588 w 5706872"/>
              <a:gd name="connsiteY0" fmla="*/ 0 h 5146469"/>
              <a:gd name="connsiteX1" fmla="*/ 5706872 w 5706872"/>
              <a:gd name="connsiteY1" fmla="*/ 2969 h 5146469"/>
              <a:gd name="connsiteX2" fmla="*/ 5706872 w 5706872"/>
              <a:gd name="connsiteY2" fmla="*/ 5146469 h 5146469"/>
              <a:gd name="connsiteX3" fmla="*/ 0 w 5706872"/>
              <a:gd name="connsiteY3" fmla="*/ 5145882 h 5146469"/>
              <a:gd name="connsiteX4" fmla="*/ 2969588 w 5706872"/>
              <a:gd name="connsiteY4" fmla="*/ 0 h 5146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06872" h="5146469">
                <a:moveTo>
                  <a:pt x="2969588" y="0"/>
                </a:moveTo>
                <a:lnTo>
                  <a:pt x="5706872" y="2969"/>
                </a:lnTo>
                <a:lnTo>
                  <a:pt x="5706872" y="5146469"/>
                </a:lnTo>
                <a:lnTo>
                  <a:pt x="0" y="5145882"/>
                </a:lnTo>
                <a:lnTo>
                  <a:pt x="2969588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lIns="90000" tIns="46800" rIns="90000" bIns="46800" rtlCol="0">
            <a:noAutofit/>
          </a:bodyPr>
          <a:lstStyle>
            <a:lvl1pPr marL="239994" indent="-239994" algn="r">
              <a:buNone/>
              <a:defRPr lang="de-DE" dirty="0"/>
            </a:lvl1pPr>
          </a:lstStyle>
          <a:p>
            <a:pPr marL="0" lvl="0" indent="0"/>
            <a:r>
              <a:rPr lang="en-US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460941"/>
            <a:ext cx="5832028" cy="1608019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Click to edit Master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9" y="3140969"/>
            <a:ext cx="5832028" cy="874044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1pPr>
            <a:lvl2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2pPr>
            <a:lvl3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3pPr>
            <a:lvl4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4pPr>
            <a:lvl5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5pPr>
            <a:lvl6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r>
              <a:rPr lang="en-US" noProof="0" dirty="0"/>
              <a:t>Click to edit Master subtitle</a:t>
            </a: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999E33FE-0F14-4B14-BD8D-CCA7AE8B70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408000" y="405000"/>
            <a:ext cx="2160000" cy="5090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692742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11">
            <a:extLst>
              <a:ext uri="{FF2B5EF4-FFF2-40B4-BE49-F238E27FC236}">
                <a16:creationId xmlns:a16="http://schemas.microsoft.com/office/drawing/2014/main" id="{0CCA83A6-ADB6-4FD3-8546-9A18C2D4DF26}"/>
              </a:ext>
            </a:extLst>
          </p:cNvPr>
          <p:cNvSpPr/>
          <p:nvPr/>
        </p:nvSpPr>
        <p:spPr bwMode="gray">
          <a:xfrm>
            <a:off x="0" y="0"/>
            <a:ext cx="12192000" cy="6309613"/>
          </a:xfrm>
          <a:prstGeom prst="rect">
            <a:avLst/>
          </a:prstGeom>
          <a:solidFill>
            <a:srgbClr val="7572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629000"/>
            <a:ext cx="7200011" cy="151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r>
              <a:rPr lang="en-US" noProof="0" dirty="0" err="1"/>
              <a:t>titlE</a:t>
            </a:r>
            <a:endParaRPr lang="en-US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5BCA23B-AFB3-4B91-8CB9-C84FE5D584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Konference Červený kohout | Duben 2024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9BB3E24-4476-46A5-8CFD-EF46BE9795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50CA8D7C-B784-4BCA-9D80-C3388554E119}"/>
              </a:ext>
            </a:extLst>
          </p:cNvPr>
          <p:cNvSpPr/>
          <p:nvPr/>
        </p:nvSpPr>
        <p:spPr bwMode="gray">
          <a:xfrm>
            <a:off x="7624055" y="1200987"/>
            <a:ext cx="2046995" cy="3427412"/>
          </a:xfrm>
          <a:prstGeom prst="parallelogram">
            <a:avLst>
              <a:gd name="adj" fmla="val 9714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18786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 bwMode="gray">
          <a:xfrm>
            <a:off x="478366" y="6261315"/>
            <a:ext cx="1133026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/>
          </a:p>
        </p:txBody>
      </p:sp>
      <p:sp>
        <p:nvSpPr>
          <p:cNvPr id="9" name="object 3"/>
          <p:cNvSpPr/>
          <p:nvPr/>
        </p:nvSpPr>
        <p:spPr bwMode="gray">
          <a:xfrm>
            <a:off x="0" y="0"/>
            <a:ext cx="12192000" cy="6309613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8" y="1629000"/>
            <a:ext cx="6550376" cy="151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</a:t>
            </a:r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902542" y="-1"/>
            <a:ext cx="7289458" cy="6309614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5093 w 10000"/>
              <a:gd name="connsiteY0" fmla="*/ 1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93 w 10000"/>
              <a:gd name="connsiteY4" fmla="*/ 11 h 10000"/>
              <a:gd name="connsiteX0" fmla="*/ 5084 w 10000"/>
              <a:gd name="connsiteY0" fmla="*/ 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4 w 10000"/>
              <a:gd name="connsiteY4" fmla="*/ 6 h 10000"/>
              <a:gd name="connsiteX0" fmla="*/ 5172 w 10000"/>
              <a:gd name="connsiteY0" fmla="*/ 227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172 w 10000"/>
              <a:gd name="connsiteY4" fmla="*/ 227 h 10000"/>
              <a:gd name="connsiteX0" fmla="*/ 5080 w 10000"/>
              <a:gd name="connsiteY0" fmla="*/ 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0 w 10000"/>
              <a:gd name="connsiteY4" fmla="*/ 1 h 10000"/>
              <a:gd name="connsiteX0" fmla="*/ 4926 w 10000"/>
              <a:gd name="connsiteY0" fmla="*/ 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4926 w 10000"/>
              <a:gd name="connsiteY4" fmla="*/ 1 h 10000"/>
              <a:gd name="connsiteX0" fmla="*/ 4926 w 10000"/>
              <a:gd name="connsiteY0" fmla="*/ 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4926 w 10000"/>
              <a:gd name="connsiteY4" fmla="*/ 6 h 10000"/>
              <a:gd name="connsiteX0" fmla="*/ 5040 w 10114"/>
              <a:gd name="connsiteY0" fmla="*/ 6 h 10000"/>
              <a:gd name="connsiteX1" fmla="*/ 10114 w 10114"/>
              <a:gd name="connsiteY1" fmla="*/ 0 h 10000"/>
              <a:gd name="connsiteX2" fmla="*/ 10114 w 10114"/>
              <a:gd name="connsiteY2" fmla="*/ 10000 h 10000"/>
              <a:gd name="connsiteX3" fmla="*/ 0 w 10114"/>
              <a:gd name="connsiteY3" fmla="*/ 9985 h 10000"/>
              <a:gd name="connsiteX4" fmla="*/ 5040 w 10114"/>
              <a:gd name="connsiteY4" fmla="*/ 6 h 10000"/>
              <a:gd name="connsiteX0" fmla="*/ 5044 w 10118"/>
              <a:gd name="connsiteY0" fmla="*/ 6 h 10000"/>
              <a:gd name="connsiteX1" fmla="*/ 10118 w 10118"/>
              <a:gd name="connsiteY1" fmla="*/ 0 h 10000"/>
              <a:gd name="connsiteX2" fmla="*/ 10118 w 10118"/>
              <a:gd name="connsiteY2" fmla="*/ 10000 h 10000"/>
              <a:gd name="connsiteX3" fmla="*/ 0 w 10118"/>
              <a:gd name="connsiteY3" fmla="*/ 9995 h 10000"/>
              <a:gd name="connsiteX4" fmla="*/ 5044 w 10118"/>
              <a:gd name="connsiteY4" fmla="*/ 6 h 10000"/>
              <a:gd name="connsiteX0" fmla="*/ 5048 w 10118"/>
              <a:gd name="connsiteY0" fmla="*/ 1 h 10000"/>
              <a:gd name="connsiteX1" fmla="*/ 10118 w 10118"/>
              <a:gd name="connsiteY1" fmla="*/ 0 h 10000"/>
              <a:gd name="connsiteX2" fmla="*/ 10118 w 10118"/>
              <a:gd name="connsiteY2" fmla="*/ 10000 h 10000"/>
              <a:gd name="connsiteX3" fmla="*/ 0 w 10118"/>
              <a:gd name="connsiteY3" fmla="*/ 9995 h 10000"/>
              <a:gd name="connsiteX4" fmla="*/ 5048 w 10118"/>
              <a:gd name="connsiteY4" fmla="*/ 1 h 10000"/>
              <a:gd name="connsiteX0" fmla="*/ 5030 w 10100"/>
              <a:gd name="connsiteY0" fmla="*/ 1 h 10000"/>
              <a:gd name="connsiteX1" fmla="*/ 10100 w 10100"/>
              <a:gd name="connsiteY1" fmla="*/ 0 h 10000"/>
              <a:gd name="connsiteX2" fmla="*/ 10100 w 10100"/>
              <a:gd name="connsiteY2" fmla="*/ 10000 h 10000"/>
              <a:gd name="connsiteX3" fmla="*/ 0 w 10100"/>
              <a:gd name="connsiteY3" fmla="*/ 9995 h 10000"/>
              <a:gd name="connsiteX4" fmla="*/ 5030 w 10100"/>
              <a:gd name="connsiteY4" fmla="*/ 1 h 10000"/>
              <a:gd name="connsiteX0" fmla="*/ 5039 w 10100"/>
              <a:gd name="connsiteY0" fmla="*/ 1 h 10000"/>
              <a:gd name="connsiteX1" fmla="*/ 10100 w 10100"/>
              <a:gd name="connsiteY1" fmla="*/ 0 h 10000"/>
              <a:gd name="connsiteX2" fmla="*/ 10100 w 10100"/>
              <a:gd name="connsiteY2" fmla="*/ 10000 h 10000"/>
              <a:gd name="connsiteX3" fmla="*/ 0 w 10100"/>
              <a:gd name="connsiteY3" fmla="*/ 9995 h 10000"/>
              <a:gd name="connsiteX4" fmla="*/ 5039 w 10100"/>
              <a:gd name="connsiteY4" fmla="*/ 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00" h="10000">
                <a:moveTo>
                  <a:pt x="5039" y="1"/>
                </a:moveTo>
                <a:lnTo>
                  <a:pt x="10100" y="0"/>
                </a:lnTo>
                <a:lnTo>
                  <a:pt x="10100" y="10000"/>
                </a:lnTo>
                <a:lnTo>
                  <a:pt x="0" y="9995"/>
                </a:lnTo>
                <a:lnTo>
                  <a:pt x="5039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r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80DF7F2-096E-4B13-9431-9B0694BC0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Konference Červený kohout | Duben 2024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FE725B2-8441-4840-A17A-C23B60A470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545866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 bwMode="gray">
          <a:xfrm>
            <a:off x="0" y="0"/>
            <a:ext cx="12192000" cy="6309613"/>
          </a:xfrm>
          <a:prstGeom prst="rect">
            <a:avLst/>
          </a:prstGeom>
          <a:solidFill>
            <a:srgbClr val="7A7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8" y="1629000"/>
            <a:ext cx="6550376" cy="151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</a:t>
            </a:r>
          </a:p>
        </p:txBody>
      </p:sp>
      <p:sp>
        <p:nvSpPr>
          <p:cNvPr id="22" name="Bildplatzhalter 3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902542" y="-1"/>
            <a:ext cx="7289458" cy="6309614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5093 w 10000"/>
              <a:gd name="connsiteY0" fmla="*/ 1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93 w 10000"/>
              <a:gd name="connsiteY4" fmla="*/ 11 h 10000"/>
              <a:gd name="connsiteX0" fmla="*/ 5084 w 10000"/>
              <a:gd name="connsiteY0" fmla="*/ 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4 w 10000"/>
              <a:gd name="connsiteY4" fmla="*/ 6 h 10000"/>
              <a:gd name="connsiteX0" fmla="*/ 5172 w 10000"/>
              <a:gd name="connsiteY0" fmla="*/ 227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172 w 10000"/>
              <a:gd name="connsiteY4" fmla="*/ 227 h 10000"/>
              <a:gd name="connsiteX0" fmla="*/ 5080 w 10000"/>
              <a:gd name="connsiteY0" fmla="*/ 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5080 w 10000"/>
              <a:gd name="connsiteY4" fmla="*/ 1 h 10000"/>
              <a:gd name="connsiteX0" fmla="*/ 4926 w 10000"/>
              <a:gd name="connsiteY0" fmla="*/ 1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4926 w 10000"/>
              <a:gd name="connsiteY4" fmla="*/ 1 h 10000"/>
              <a:gd name="connsiteX0" fmla="*/ 4926 w 10000"/>
              <a:gd name="connsiteY0" fmla="*/ 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4926 w 10000"/>
              <a:gd name="connsiteY4" fmla="*/ 6 h 10000"/>
              <a:gd name="connsiteX0" fmla="*/ 5040 w 10114"/>
              <a:gd name="connsiteY0" fmla="*/ 6 h 10000"/>
              <a:gd name="connsiteX1" fmla="*/ 10114 w 10114"/>
              <a:gd name="connsiteY1" fmla="*/ 0 h 10000"/>
              <a:gd name="connsiteX2" fmla="*/ 10114 w 10114"/>
              <a:gd name="connsiteY2" fmla="*/ 10000 h 10000"/>
              <a:gd name="connsiteX3" fmla="*/ 0 w 10114"/>
              <a:gd name="connsiteY3" fmla="*/ 9985 h 10000"/>
              <a:gd name="connsiteX4" fmla="*/ 5040 w 10114"/>
              <a:gd name="connsiteY4" fmla="*/ 6 h 10000"/>
              <a:gd name="connsiteX0" fmla="*/ 5044 w 10118"/>
              <a:gd name="connsiteY0" fmla="*/ 6 h 10000"/>
              <a:gd name="connsiteX1" fmla="*/ 10118 w 10118"/>
              <a:gd name="connsiteY1" fmla="*/ 0 h 10000"/>
              <a:gd name="connsiteX2" fmla="*/ 10118 w 10118"/>
              <a:gd name="connsiteY2" fmla="*/ 10000 h 10000"/>
              <a:gd name="connsiteX3" fmla="*/ 0 w 10118"/>
              <a:gd name="connsiteY3" fmla="*/ 9995 h 10000"/>
              <a:gd name="connsiteX4" fmla="*/ 5044 w 10118"/>
              <a:gd name="connsiteY4" fmla="*/ 6 h 10000"/>
              <a:gd name="connsiteX0" fmla="*/ 5048 w 10118"/>
              <a:gd name="connsiteY0" fmla="*/ 1 h 10000"/>
              <a:gd name="connsiteX1" fmla="*/ 10118 w 10118"/>
              <a:gd name="connsiteY1" fmla="*/ 0 h 10000"/>
              <a:gd name="connsiteX2" fmla="*/ 10118 w 10118"/>
              <a:gd name="connsiteY2" fmla="*/ 10000 h 10000"/>
              <a:gd name="connsiteX3" fmla="*/ 0 w 10118"/>
              <a:gd name="connsiteY3" fmla="*/ 9995 h 10000"/>
              <a:gd name="connsiteX4" fmla="*/ 5048 w 10118"/>
              <a:gd name="connsiteY4" fmla="*/ 1 h 10000"/>
              <a:gd name="connsiteX0" fmla="*/ 5057 w 10118"/>
              <a:gd name="connsiteY0" fmla="*/ 1 h 10000"/>
              <a:gd name="connsiteX1" fmla="*/ 10118 w 10118"/>
              <a:gd name="connsiteY1" fmla="*/ 0 h 10000"/>
              <a:gd name="connsiteX2" fmla="*/ 10118 w 10118"/>
              <a:gd name="connsiteY2" fmla="*/ 10000 h 10000"/>
              <a:gd name="connsiteX3" fmla="*/ 0 w 10118"/>
              <a:gd name="connsiteY3" fmla="*/ 9995 h 10000"/>
              <a:gd name="connsiteX4" fmla="*/ 5057 w 10118"/>
              <a:gd name="connsiteY4" fmla="*/ 1 h 10000"/>
              <a:gd name="connsiteX0" fmla="*/ 5039 w 10100"/>
              <a:gd name="connsiteY0" fmla="*/ 1 h 10000"/>
              <a:gd name="connsiteX1" fmla="*/ 10100 w 10100"/>
              <a:gd name="connsiteY1" fmla="*/ 0 h 10000"/>
              <a:gd name="connsiteX2" fmla="*/ 10100 w 10100"/>
              <a:gd name="connsiteY2" fmla="*/ 10000 h 10000"/>
              <a:gd name="connsiteX3" fmla="*/ 0 w 10100"/>
              <a:gd name="connsiteY3" fmla="*/ 9995 h 10000"/>
              <a:gd name="connsiteX4" fmla="*/ 5039 w 10100"/>
              <a:gd name="connsiteY4" fmla="*/ 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00" h="10000">
                <a:moveTo>
                  <a:pt x="5039" y="1"/>
                </a:moveTo>
                <a:lnTo>
                  <a:pt x="10100" y="0"/>
                </a:lnTo>
                <a:lnTo>
                  <a:pt x="10100" y="10000"/>
                </a:lnTo>
                <a:lnTo>
                  <a:pt x="0" y="9995"/>
                </a:lnTo>
                <a:lnTo>
                  <a:pt x="5039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r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54D4A4C-BF2C-4284-80C4-56596FAE43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Konference Červený kohout | Duben 2024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536BE8-6838-469C-9773-6E06E08835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74513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6261315"/>
            <a:ext cx="12192000" cy="96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30932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6B1551E3-8B68-44DA-8FE1-5A7E31F245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07988" y="4869000"/>
            <a:ext cx="5832475" cy="115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65639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7367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4" progId="TCLayout.ActiveDocument.1">
                  <p:embed/>
                </p:oleObj>
              </mc:Choice>
              <mc:Fallback>
                <p:oleObj name="think-cell Slide" r:id="rId4" imgW="415" imgH="41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07989" y="1628775"/>
            <a:ext cx="5543550" cy="4392613"/>
          </a:xfrm>
        </p:spPr>
        <p:txBody>
          <a:bodyPr/>
          <a:lstStyle/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7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6240463" y="1628775"/>
            <a:ext cx="5543550" cy="4392613"/>
          </a:xfrm>
        </p:spPr>
        <p:txBody>
          <a:bodyPr/>
          <a:lstStyle/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D126B29-C846-43B1-AC4B-7D4F3BC67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099141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01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541C08-EA5F-42D5-87CD-20FE435F7B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34493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4" progId="TCLayout.ActiveDocument.1">
                  <p:embed/>
                </p:oleObj>
              </mc:Choice>
              <mc:Fallback>
                <p:oleObj name="think-cell Slide" r:id="rId4" imgW="415" imgH="41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07989" y="1628775"/>
            <a:ext cx="5543550" cy="4392613"/>
          </a:xfrm>
        </p:spPr>
        <p:txBody>
          <a:bodyPr/>
          <a:lstStyle/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7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6240463" y="1628775"/>
            <a:ext cx="5543550" cy="4392613"/>
          </a:xfrm>
        </p:spPr>
        <p:txBody>
          <a:bodyPr/>
          <a:lstStyle/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31E048E2-E35B-4C71-974C-B088F6A8C1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58757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 bwMode="gray">
          <a:xfrm>
            <a:off x="8211670" y="0"/>
            <a:ext cx="3980329" cy="6858000"/>
          </a:xfrm>
          <a:custGeom>
            <a:avLst/>
            <a:gdLst>
              <a:gd name="connsiteX0" fmla="*/ 3629319 w 5724128"/>
              <a:gd name="connsiteY0" fmla="*/ 45244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3629319 w 5724128"/>
              <a:gd name="connsiteY4" fmla="*/ 45244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0 w 5724128"/>
              <a:gd name="connsiteY0" fmla="*/ 514350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4128" h="5143500">
                <a:moveTo>
                  <a:pt x="0" y="5143500"/>
                </a:moveTo>
                <a:lnTo>
                  <a:pt x="5724128" y="0"/>
                </a:lnTo>
                <a:lnTo>
                  <a:pt x="572412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07989" y="1628775"/>
            <a:ext cx="5543550" cy="4392613"/>
          </a:xfrm>
        </p:spPr>
        <p:txBody>
          <a:bodyPr/>
          <a:lstStyle/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7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6240463" y="1628775"/>
            <a:ext cx="5543550" cy="4392613"/>
          </a:xfrm>
        </p:spPr>
        <p:txBody>
          <a:bodyPr/>
          <a:lstStyle/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F951C404-2EE1-4719-8C0B-8D87D0C9B76B}"/>
              </a:ext>
            </a:extLst>
          </p:cNvPr>
          <p:cNvSpPr>
            <a:spLocks noChangeAspect="1"/>
          </p:cNvSpPr>
          <p:nvPr/>
        </p:nvSpPr>
        <p:spPr bwMode="gray">
          <a:xfrm>
            <a:off x="11228917" y="6462248"/>
            <a:ext cx="127259" cy="216000"/>
          </a:xfrm>
          <a:custGeom>
            <a:avLst/>
            <a:gdLst>
              <a:gd name="T0" fmla="*/ 1544 w 1570"/>
              <a:gd name="T1" fmla="*/ 0 h 2675"/>
              <a:gd name="T2" fmla="*/ 1544 w 1570"/>
              <a:gd name="T3" fmla="*/ 0 h 2675"/>
              <a:gd name="T4" fmla="*/ 0 w 1570"/>
              <a:gd name="T5" fmla="*/ 2675 h 2675"/>
              <a:gd name="T6" fmla="*/ 26 w 1570"/>
              <a:gd name="T7" fmla="*/ 2675 h 2675"/>
              <a:gd name="T8" fmla="*/ 1570 w 1570"/>
              <a:gd name="T9" fmla="*/ 0 h 2675"/>
              <a:gd name="T10" fmla="*/ 1544 w 1570"/>
              <a:gd name="T11" fmla="*/ 0 h 2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70" h="2675">
                <a:moveTo>
                  <a:pt x="1544" y="0"/>
                </a:moveTo>
                <a:lnTo>
                  <a:pt x="1544" y="0"/>
                </a:lnTo>
                <a:lnTo>
                  <a:pt x="0" y="2675"/>
                </a:lnTo>
                <a:lnTo>
                  <a:pt x="26" y="2675"/>
                </a:lnTo>
                <a:lnTo>
                  <a:pt x="1570" y="0"/>
                </a:lnTo>
                <a:lnTo>
                  <a:pt x="1544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9CBB08E-8C39-4B2B-A19F-30AE5C7DFBE3}"/>
              </a:ext>
            </a:extLst>
          </p:cNvPr>
          <p:cNvSpPr/>
          <p:nvPr/>
        </p:nvSpPr>
        <p:spPr bwMode="gray">
          <a:xfrm>
            <a:off x="11288510" y="6430004"/>
            <a:ext cx="152079" cy="3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4292A3B-BF06-4AAA-A089-9A6DF130CC7F}"/>
              </a:ext>
            </a:extLst>
          </p:cNvPr>
          <p:cNvSpPr/>
          <p:nvPr/>
        </p:nvSpPr>
        <p:spPr bwMode="gray">
          <a:xfrm>
            <a:off x="11172124" y="6678007"/>
            <a:ext cx="152079" cy="3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CF7DCFA-1F35-4D6F-ABCB-C51F29742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3596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02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474EC7-8C98-493A-B3CA-50AFD693B4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 bwMode="gray">
          <a:xfrm>
            <a:off x="8211670" y="0"/>
            <a:ext cx="3980329" cy="6858000"/>
          </a:xfrm>
          <a:custGeom>
            <a:avLst/>
            <a:gdLst>
              <a:gd name="connsiteX0" fmla="*/ 3629319 w 5724128"/>
              <a:gd name="connsiteY0" fmla="*/ 45244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3629319 w 5724128"/>
              <a:gd name="connsiteY4" fmla="*/ 45244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0 w 5724128"/>
              <a:gd name="connsiteY0" fmla="*/ 514350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4128" h="5143500">
                <a:moveTo>
                  <a:pt x="0" y="5143500"/>
                </a:moveTo>
                <a:lnTo>
                  <a:pt x="5724128" y="0"/>
                </a:lnTo>
                <a:lnTo>
                  <a:pt x="572412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07989" y="1628775"/>
            <a:ext cx="5543550" cy="4392613"/>
          </a:xfrm>
        </p:spPr>
        <p:txBody>
          <a:bodyPr/>
          <a:lstStyle/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7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6240463" y="1628775"/>
            <a:ext cx="5543550" cy="4392613"/>
          </a:xfrm>
        </p:spPr>
        <p:txBody>
          <a:bodyPr/>
          <a:lstStyle/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F951C404-2EE1-4719-8C0B-8D87D0C9B76B}"/>
              </a:ext>
            </a:extLst>
          </p:cNvPr>
          <p:cNvSpPr>
            <a:spLocks noChangeAspect="1"/>
          </p:cNvSpPr>
          <p:nvPr/>
        </p:nvSpPr>
        <p:spPr bwMode="gray">
          <a:xfrm>
            <a:off x="11228917" y="6462248"/>
            <a:ext cx="127259" cy="216000"/>
          </a:xfrm>
          <a:custGeom>
            <a:avLst/>
            <a:gdLst>
              <a:gd name="T0" fmla="*/ 1544 w 1570"/>
              <a:gd name="T1" fmla="*/ 0 h 2675"/>
              <a:gd name="T2" fmla="*/ 1544 w 1570"/>
              <a:gd name="T3" fmla="*/ 0 h 2675"/>
              <a:gd name="T4" fmla="*/ 0 w 1570"/>
              <a:gd name="T5" fmla="*/ 2675 h 2675"/>
              <a:gd name="T6" fmla="*/ 26 w 1570"/>
              <a:gd name="T7" fmla="*/ 2675 h 2675"/>
              <a:gd name="T8" fmla="*/ 1570 w 1570"/>
              <a:gd name="T9" fmla="*/ 0 h 2675"/>
              <a:gd name="T10" fmla="*/ 1544 w 1570"/>
              <a:gd name="T11" fmla="*/ 0 h 2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70" h="2675">
                <a:moveTo>
                  <a:pt x="1544" y="0"/>
                </a:moveTo>
                <a:lnTo>
                  <a:pt x="1544" y="0"/>
                </a:lnTo>
                <a:lnTo>
                  <a:pt x="0" y="2675"/>
                </a:lnTo>
                <a:lnTo>
                  <a:pt x="26" y="2675"/>
                </a:lnTo>
                <a:lnTo>
                  <a:pt x="1570" y="0"/>
                </a:lnTo>
                <a:lnTo>
                  <a:pt x="1544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F9CBB08E-8C39-4B2B-A19F-30AE5C7DFBE3}"/>
              </a:ext>
            </a:extLst>
          </p:cNvPr>
          <p:cNvSpPr/>
          <p:nvPr/>
        </p:nvSpPr>
        <p:spPr bwMode="gray">
          <a:xfrm>
            <a:off x="11288510" y="6430004"/>
            <a:ext cx="152079" cy="3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4292A3B-BF06-4AAA-A089-9A6DF130CC7F}"/>
              </a:ext>
            </a:extLst>
          </p:cNvPr>
          <p:cNvSpPr/>
          <p:nvPr/>
        </p:nvSpPr>
        <p:spPr bwMode="gray">
          <a:xfrm>
            <a:off x="11172124" y="6678007"/>
            <a:ext cx="152079" cy="3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8BC5EFAC-12F0-4529-959A-E93F85356B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7988" y="837000"/>
            <a:ext cx="11376024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45715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6238925" y="1628775"/>
            <a:ext cx="5545088" cy="4392613"/>
          </a:xfrm>
        </p:spPr>
        <p:txBody>
          <a:bodyPr/>
          <a:lstStyle/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7989" y="1628775"/>
            <a:ext cx="5543550" cy="4392613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AD61A59-7175-417A-8103-364DF3BCAA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91756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01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112575AC-C263-45EA-BF85-8D42A85CE4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6238925" y="1628775"/>
            <a:ext cx="5545088" cy="4392613"/>
          </a:xfrm>
        </p:spPr>
        <p:txBody>
          <a:bodyPr/>
          <a:lstStyle/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7989" y="1628775"/>
            <a:ext cx="5543550" cy="4392613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9833A09-33B7-4FAA-82B0-938E5529CD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21063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460941"/>
            <a:ext cx="5832028" cy="1608019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Click to edit Master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9" y="3140969"/>
            <a:ext cx="5832028" cy="874044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1pPr>
            <a:lvl2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2pPr>
            <a:lvl3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3pPr>
            <a:lvl4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4pPr>
            <a:lvl5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5pPr>
            <a:lvl6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r>
              <a:rPr lang="en-US" noProof="0" dirty="0"/>
              <a:t>Click to edit Master subtitle</a:t>
            </a:r>
          </a:p>
        </p:txBody>
      </p:sp>
      <p:sp>
        <p:nvSpPr>
          <p:cNvPr id="6" name="Rechteck 7"/>
          <p:cNvSpPr/>
          <p:nvPr/>
        </p:nvSpPr>
        <p:spPr bwMode="gray">
          <a:xfrm>
            <a:off x="4578879" y="0"/>
            <a:ext cx="7613122" cy="6861175"/>
          </a:xfrm>
          <a:custGeom>
            <a:avLst/>
            <a:gdLst>
              <a:gd name="connsiteX0" fmla="*/ 2979700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2979700 w 5724128"/>
              <a:gd name="connsiteY4" fmla="*/ 0 h 5143500"/>
              <a:gd name="connsiteX0" fmla="*/ 2970175 w 5714603"/>
              <a:gd name="connsiteY0" fmla="*/ 0 h 5143500"/>
              <a:gd name="connsiteX1" fmla="*/ 5714603 w 5714603"/>
              <a:gd name="connsiteY1" fmla="*/ 0 h 5143500"/>
              <a:gd name="connsiteX2" fmla="*/ 5714603 w 5714603"/>
              <a:gd name="connsiteY2" fmla="*/ 5143500 h 5143500"/>
              <a:gd name="connsiteX3" fmla="*/ 0 w 5714603"/>
              <a:gd name="connsiteY3" fmla="*/ 5143500 h 5143500"/>
              <a:gd name="connsiteX4" fmla="*/ 2970175 w 5714603"/>
              <a:gd name="connsiteY4" fmla="*/ 0 h 5143500"/>
              <a:gd name="connsiteX0" fmla="*/ 2974938 w 5714603"/>
              <a:gd name="connsiteY0" fmla="*/ 0 h 5145881"/>
              <a:gd name="connsiteX1" fmla="*/ 5714603 w 5714603"/>
              <a:gd name="connsiteY1" fmla="*/ 2381 h 5145881"/>
              <a:gd name="connsiteX2" fmla="*/ 5714603 w 5714603"/>
              <a:gd name="connsiteY2" fmla="*/ 5145881 h 5145881"/>
              <a:gd name="connsiteX3" fmla="*/ 0 w 5714603"/>
              <a:gd name="connsiteY3" fmla="*/ 5145881 h 5145881"/>
              <a:gd name="connsiteX4" fmla="*/ 2974938 w 5714603"/>
              <a:gd name="connsiteY4" fmla="*/ 0 h 5145881"/>
              <a:gd name="connsiteX0" fmla="*/ 2970176 w 5709841"/>
              <a:gd name="connsiteY0" fmla="*/ 0 h 5145881"/>
              <a:gd name="connsiteX1" fmla="*/ 5709841 w 5709841"/>
              <a:gd name="connsiteY1" fmla="*/ 2381 h 5145881"/>
              <a:gd name="connsiteX2" fmla="*/ 5709841 w 5709841"/>
              <a:gd name="connsiteY2" fmla="*/ 5145881 h 5145881"/>
              <a:gd name="connsiteX3" fmla="*/ 0 w 5709841"/>
              <a:gd name="connsiteY3" fmla="*/ 5145881 h 5145881"/>
              <a:gd name="connsiteX4" fmla="*/ 2970176 w 5709841"/>
              <a:gd name="connsiteY4" fmla="*/ 0 h 5145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09841" h="5145881">
                <a:moveTo>
                  <a:pt x="2970176" y="0"/>
                </a:moveTo>
                <a:lnTo>
                  <a:pt x="5709841" y="2381"/>
                </a:lnTo>
                <a:lnTo>
                  <a:pt x="5709841" y="5145881"/>
                </a:lnTo>
                <a:lnTo>
                  <a:pt x="0" y="5145881"/>
                </a:lnTo>
                <a:lnTo>
                  <a:pt x="297017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1905B45A-70DB-4C10-B573-E9DA01805A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408000" y="405000"/>
            <a:ext cx="2160000" cy="5090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244600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407988" y="1628776"/>
            <a:ext cx="5544079" cy="4392512"/>
          </a:xfrm>
        </p:spPr>
        <p:txBody>
          <a:bodyPr/>
          <a:lstStyle/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239933" y="1628775"/>
            <a:ext cx="5544080" cy="4393142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27BA416-5A0A-48B4-B45A-D2DAE88409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07661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02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0086125-979D-499E-81D8-08D8B5D92D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407988" y="1628776"/>
            <a:ext cx="5544079" cy="4392512"/>
          </a:xfrm>
        </p:spPr>
        <p:txBody>
          <a:bodyPr/>
          <a:lstStyle/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239933" y="1628775"/>
            <a:ext cx="5544080" cy="4393142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459CFB86-D233-4557-9757-2D198A8679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>
                <a:solidFill>
                  <a:srgbClr val="671C3E"/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154974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407988" y="1628776"/>
            <a:ext cx="5544079" cy="4392512"/>
          </a:xfrm>
        </p:spPr>
        <p:txBody>
          <a:bodyPr/>
          <a:lstStyle/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239932" y="0"/>
            <a:ext cx="5952067" cy="685800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D5264FE-F7AB-4E8D-B3F2-7D99C929BD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1632001" y="6469556"/>
            <a:ext cx="4319537" cy="187694"/>
          </a:xfrm>
        </p:spPr>
        <p:txBody>
          <a:bodyPr/>
          <a:lstStyle/>
          <a:p>
            <a:r>
              <a:rPr lang="en-US"/>
              <a:t>Konference Červený kohout | Duben 2024</a:t>
            </a:r>
            <a:endParaRPr lang="en-US" noProof="0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A2F5C3F-6D20-46B0-BD89-C7C139E610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989" y="333000"/>
            <a:ext cx="5543550" cy="792538"/>
          </a:xfrm>
        </p:spPr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205681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03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731BB0C8-D9EA-4166-BBD0-94E7397A23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989" y="333000"/>
            <a:ext cx="5543550" cy="792538"/>
          </a:xfrm>
        </p:spPr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407988" y="1628776"/>
            <a:ext cx="5544079" cy="4392512"/>
          </a:xfrm>
        </p:spPr>
        <p:txBody>
          <a:bodyPr/>
          <a:lstStyle/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239932" y="0"/>
            <a:ext cx="5952067" cy="685800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9D3C237-2C79-4DC0-B6B9-5CC28B24BE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989" y="837000"/>
            <a:ext cx="5543549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5FC07B4-E245-49BB-844A-9906670A787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>
          <a:xfrm>
            <a:off x="1632001" y="6469556"/>
            <a:ext cx="4319537" cy="187694"/>
          </a:xfrm>
        </p:spPr>
        <p:txBody>
          <a:bodyPr/>
          <a:lstStyle/>
          <a:p>
            <a:r>
              <a:rPr lang="en-US"/>
              <a:t>Konference Červený kohout | Duben 2024</a:t>
            </a:r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3417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4221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4" progId="TCLayout.ActiveDocument.1">
                  <p:embed/>
                </p:oleObj>
              </mc:Choice>
              <mc:Fallback>
                <p:oleObj name="think-cell Slide" r:id="rId4" imgW="415" imgH="41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40463" y="1628775"/>
            <a:ext cx="5543550" cy="2856442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407988" y="4677139"/>
            <a:ext cx="5544079" cy="1344149"/>
          </a:xfrm>
        </p:spPr>
        <p:txBody>
          <a:bodyPr/>
          <a:lstStyle>
            <a:lvl1pPr>
              <a:lnSpc>
                <a:spcPct val="107000"/>
              </a:lnSpc>
              <a:spcBef>
                <a:spcPts val="1000"/>
              </a:spcBef>
              <a:defRPr sz="1400"/>
            </a:lvl1pPr>
            <a:lvl2pPr>
              <a:lnSpc>
                <a:spcPct val="107000"/>
              </a:lnSpc>
              <a:spcBef>
                <a:spcPts val="1000"/>
              </a:spcBef>
              <a:defRPr sz="1400"/>
            </a:lvl2pPr>
            <a:lvl3pPr>
              <a:lnSpc>
                <a:spcPct val="107000"/>
              </a:lnSpc>
              <a:spcBef>
                <a:spcPts val="1000"/>
              </a:spcBef>
              <a:defRPr sz="1400"/>
            </a:lvl3pPr>
            <a:lvl4pPr>
              <a:lnSpc>
                <a:spcPct val="107000"/>
              </a:lnSpc>
              <a:spcBef>
                <a:spcPts val="1000"/>
              </a:spcBef>
              <a:defRPr sz="1400"/>
            </a:lvl4pPr>
            <a:lvl5pPr>
              <a:lnSpc>
                <a:spcPct val="107000"/>
              </a:lnSpc>
              <a:spcBef>
                <a:spcPts val="1000"/>
              </a:spcBef>
              <a:defRPr sz="1400"/>
            </a:lvl5pPr>
            <a:lvl6pPr>
              <a:lnSpc>
                <a:spcPct val="107000"/>
              </a:lnSpc>
              <a:spcBef>
                <a:spcPts val="1000"/>
              </a:spcBef>
              <a:defRPr sz="1400"/>
            </a:lvl6pPr>
            <a:lvl7pPr>
              <a:lnSpc>
                <a:spcPct val="107000"/>
              </a:lnSpc>
              <a:spcBef>
                <a:spcPts val="1000"/>
              </a:spcBef>
              <a:defRPr sz="1400"/>
            </a:lvl7pPr>
            <a:lvl8pPr>
              <a:lnSpc>
                <a:spcPct val="107000"/>
              </a:lnSpc>
              <a:spcBef>
                <a:spcPts val="1000"/>
              </a:spcBef>
              <a:defRPr sz="1400"/>
            </a:lvl8pPr>
            <a:lvl9pPr>
              <a:lnSpc>
                <a:spcPct val="107000"/>
              </a:lnSpc>
              <a:spcBef>
                <a:spcPts val="1000"/>
              </a:spcBef>
              <a:defRPr sz="1400"/>
            </a:lvl9pPr>
          </a:lstStyle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7989" y="1628775"/>
            <a:ext cx="5543550" cy="2856441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6" hasCustomPrompt="1"/>
          </p:nvPr>
        </p:nvSpPr>
        <p:spPr bwMode="gray">
          <a:xfrm>
            <a:off x="6238925" y="4677139"/>
            <a:ext cx="5545088" cy="1344149"/>
          </a:xfrm>
        </p:spPr>
        <p:txBody>
          <a:bodyPr/>
          <a:lstStyle>
            <a:lvl1pPr>
              <a:lnSpc>
                <a:spcPct val="107000"/>
              </a:lnSpc>
              <a:spcBef>
                <a:spcPts val="1000"/>
              </a:spcBef>
              <a:defRPr sz="1400"/>
            </a:lvl1pPr>
            <a:lvl2pPr>
              <a:lnSpc>
                <a:spcPct val="107000"/>
              </a:lnSpc>
              <a:spcBef>
                <a:spcPts val="1000"/>
              </a:spcBef>
              <a:defRPr sz="1400"/>
            </a:lvl2pPr>
            <a:lvl3pPr>
              <a:lnSpc>
                <a:spcPct val="107000"/>
              </a:lnSpc>
              <a:spcBef>
                <a:spcPts val="1000"/>
              </a:spcBef>
              <a:defRPr sz="1400"/>
            </a:lvl3pPr>
            <a:lvl4pPr>
              <a:lnSpc>
                <a:spcPct val="107000"/>
              </a:lnSpc>
              <a:spcBef>
                <a:spcPts val="1000"/>
              </a:spcBef>
              <a:defRPr sz="1400"/>
            </a:lvl4pPr>
            <a:lvl5pPr>
              <a:lnSpc>
                <a:spcPct val="107000"/>
              </a:lnSpc>
              <a:spcBef>
                <a:spcPts val="1000"/>
              </a:spcBef>
              <a:defRPr sz="1400"/>
            </a:lvl5pPr>
            <a:lvl6pPr>
              <a:lnSpc>
                <a:spcPct val="107000"/>
              </a:lnSpc>
              <a:spcBef>
                <a:spcPts val="1000"/>
              </a:spcBef>
              <a:defRPr sz="1400"/>
            </a:lvl6pPr>
            <a:lvl7pPr>
              <a:lnSpc>
                <a:spcPct val="107000"/>
              </a:lnSpc>
              <a:spcBef>
                <a:spcPts val="1000"/>
              </a:spcBef>
              <a:defRPr sz="1400"/>
            </a:lvl7pPr>
            <a:lvl8pPr>
              <a:lnSpc>
                <a:spcPct val="107000"/>
              </a:lnSpc>
              <a:spcBef>
                <a:spcPts val="1000"/>
              </a:spcBef>
              <a:defRPr sz="1400"/>
            </a:lvl8pPr>
            <a:lvl9pPr>
              <a:lnSpc>
                <a:spcPct val="107000"/>
              </a:lnSpc>
              <a:spcBef>
                <a:spcPts val="1000"/>
              </a:spcBef>
              <a:defRPr sz="1400"/>
            </a:lvl9pPr>
          </a:lstStyle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491CF39-B8ED-4BF3-82A5-BA7B1309FA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15527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04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0B87612-22C7-4A9C-9C48-4A5B12F2BE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41763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4" progId="TCLayout.ActiveDocument.1">
                  <p:embed/>
                </p:oleObj>
              </mc:Choice>
              <mc:Fallback>
                <p:oleObj name="think-cell Slide" r:id="rId4" imgW="415" imgH="41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40463" y="1628775"/>
            <a:ext cx="5543550" cy="2856442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407988" y="4677139"/>
            <a:ext cx="5544079" cy="1344149"/>
          </a:xfrm>
        </p:spPr>
        <p:txBody>
          <a:bodyPr/>
          <a:lstStyle>
            <a:lvl1pPr>
              <a:lnSpc>
                <a:spcPct val="107000"/>
              </a:lnSpc>
              <a:spcBef>
                <a:spcPts val="1000"/>
              </a:spcBef>
              <a:defRPr sz="1400"/>
            </a:lvl1pPr>
            <a:lvl2pPr>
              <a:lnSpc>
                <a:spcPct val="107000"/>
              </a:lnSpc>
              <a:spcBef>
                <a:spcPts val="1000"/>
              </a:spcBef>
              <a:defRPr sz="1400"/>
            </a:lvl2pPr>
            <a:lvl3pPr>
              <a:lnSpc>
                <a:spcPct val="107000"/>
              </a:lnSpc>
              <a:spcBef>
                <a:spcPts val="1000"/>
              </a:spcBef>
              <a:defRPr sz="1400"/>
            </a:lvl3pPr>
            <a:lvl4pPr>
              <a:lnSpc>
                <a:spcPct val="107000"/>
              </a:lnSpc>
              <a:spcBef>
                <a:spcPts val="1000"/>
              </a:spcBef>
              <a:defRPr sz="1400"/>
            </a:lvl4pPr>
            <a:lvl5pPr>
              <a:lnSpc>
                <a:spcPct val="107000"/>
              </a:lnSpc>
              <a:spcBef>
                <a:spcPts val="1000"/>
              </a:spcBef>
              <a:defRPr sz="1400"/>
            </a:lvl5pPr>
            <a:lvl6pPr>
              <a:lnSpc>
                <a:spcPct val="107000"/>
              </a:lnSpc>
              <a:spcBef>
                <a:spcPts val="1000"/>
              </a:spcBef>
              <a:defRPr sz="1400"/>
            </a:lvl6pPr>
            <a:lvl7pPr>
              <a:lnSpc>
                <a:spcPct val="107000"/>
              </a:lnSpc>
              <a:spcBef>
                <a:spcPts val="1000"/>
              </a:spcBef>
              <a:defRPr sz="1400"/>
            </a:lvl7pPr>
            <a:lvl8pPr>
              <a:lnSpc>
                <a:spcPct val="107000"/>
              </a:lnSpc>
              <a:spcBef>
                <a:spcPts val="1000"/>
              </a:spcBef>
              <a:defRPr sz="1400"/>
            </a:lvl8pPr>
            <a:lvl9pPr>
              <a:lnSpc>
                <a:spcPct val="107000"/>
              </a:lnSpc>
              <a:spcBef>
                <a:spcPts val="1000"/>
              </a:spcBef>
              <a:defRPr sz="1400"/>
            </a:lvl9pPr>
          </a:lstStyle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7989" y="1628775"/>
            <a:ext cx="5543550" cy="2856441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6" hasCustomPrompt="1"/>
          </p:nvPr>
        </p:nvSpPr>
        <p:spPr bwMode="gray">
          <a:xfrm>
            <a:off x="6238925" y="4677139"/>
            <a:ext cx="5545088" cy="1344149"/>
          </a:xfrm>
        </p:spPr>
        <p:txBody>
          <a:bodyPr/>
          <a:lstStyle>
            <a:lvl1pPr>
              <a:lnSpc>
                <a:spcPct val="107000"/>
              </a:lnSpc>
              <a:spcBef>
                <a:spcPts val="1000"/>
              </a:spcBef>
              <a:defRPr sz="1400"/>
            </a:lvl1pPr>
            <a:lvl2pPr>
              <a:lnSpc>
                <a:spcPct val="107000"/>
              </a:lnSpc>
              <a:spcBef>
                <a:spcPts val="1000"/>
              </a:spcBef>
              <a:defRPr sz="1400"/>
            </a:lvl2pPr>
            <a:lvl3pPr>
              <a:lnSpc>
                <a:spcPct val="107000"/>
              </a:lnSpc>
              <a:spcBef>
                <a:spcPts val="1000"/>
              </a:spcBef>
              <a:defRPr sz="1400"/>
            </a:lvl3pPr>
            <a:lvl4pPr>
              <a:lnSpc>
                <a:spcPct val="107000"/>
              </a:lnSpc>
              <a:spcBef>
                <a:spcPts val="1000"/>
              </a:spcBef>
              <a:defRPr sz="1400"/>
            </a:lvl4pPr>
            <a:lvl5pPr>
              <a:lnSpc>
                <a:spcPct val="107000"/>
              </a:lnSpc>
              <a:spcBef>
                <a:spcPts val="1000"/>
              </a:spcBef>
              <a:defRPr sz="1400"/>
            </a:lvl5pPr>
            <a:lvl6pPr>
              <a:lnSpc>
                <a:spcPct val="107000"/>
              </a:lnSpc>
              <a:spcBef>
                <a:spcPts val="1000"/>
              </a:spcBef>
              <a:defRPr sz="1400"/>
            </a:lvl6pPr>
            <a:lvl7pPr>
              <a:lnSpc>
                <a:spcPct val="107000"/>
              </a:lnSpc>
              <a:spcBef>
                <a:spcPts val="1000"/>
              </a:spcBef>
              <a:defRPr sz="1400"/>
            </a:lvl7pPr>
            <a:lvl8pPr>
              <a:lnSpc>
                <a:spcPct val="107000"/>
              </a:lnSpc>
              <a:spcBef>
                <a:spcPts val="1000"/>
              </a:spcBef>
              <a:defRPr sz="1400"/>
            </a:lvl8pPr>
            <a:lvl9pPr>
              <a:lnSpc>
                <a:spcPct val="107000"/>
              </a:lnSpc>
              <a:spcBef>
                <a:spcPts val="1000"/>
              </a:spcBef>
              <a:defRPr sz="1400"/>
            </a:lvl9pPr>
          </a:lstStyle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9A1E1EF4-E377-4058-97EC-1B73C90296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707210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95775" y="1628776"/>
            <a:ext cx="3600449" cy="2328598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407988" y="4181795"/>
            <a:ext cx="3600451" cy="1840123"/>
          </a:xfrm>
        </p:spPr>
        <p:txBody>
          <a:bodyPr/>
          <a:lstStyle>
            <a:lvl1pPr>
              <a:lnSpc>
                <a:spcPct val="107000"/>
              </a:lnSpc>
              <a:spcBef>
                <a:spcPts val="1000"/>
              </a:spcBef>
              <a:defRPr sz="1400"/>
            </a:lvl1pPr>
            <a:lvl2pPr>
              <a:lnSpc>
                <a:spcPct val="107000"/>
              </a:lnSpc>
              <a:spcBef>
                <a:spcPts val="1000"/>
              </a:spcBef>
              <a:defRPr sz="1400"/>
            </a:lvl2pPr>
            <a:lvl3pPr>
              <a:lnSpc>
                <a:spcPct val="107000"/>
              </a:lnSpc>
              <a:spcBef>
                <a:spcPts val="1000"/>
              </a:spcBef>
              <a:defRPr sz="1400"/>
            </a:lvl3pPr>
            <a:lvl4pPr>
              <a:lnSpc>
                <a:spcPct val="107000"/>
              </a:lnSpc>
              <a:spcBef>
                <a:spcPts val="1000"/>
              </a:spcBef>
              <a:defRPr sz="1400"/>
            </a:lvl4pPr>
            <a:lvl5pPr>
              <a:lnSpc>
                <a:spcPct val="107000"/>
              </a:lnSpc>
              <a:spcBef>
                <a:spcPts val="1000"/>
              </a:spcBef>
              <a:defRPr sz="1400"/>
            </a:lvl5pPr>
            <a:lvl6pPr>
              <a:lnSpc>
                <a:spcPct val="107000"/>
              </a:lnSpc>
              <a:spcBef>
                <a:spcPts val="1000"/>
              </a:spcBef>
              <a:defRPr sz="1400"/>
            </a:lvl6pPr>
            <a:lvl7pPr>
              <a:lnSpc>
                <a:spcPct val="107000"/>
              </a:lnSpc>
              <a:spcBef>
                <a:spcPts val="1000"/>
              </a:spcBef>
              <a:defRPr sz="1400"/>
            </a:lvl7pPr>
            <a:lvl8pPr>
              <a:lnSpc>
                <a:spcPct val="107000"/>
              </a:lnSpc>
              <a:spcBef>
                <a:spcPts val="1000"/>
              </a:spcBef>
              <a:defRPr sz="1400"/>
            </a:lvl8pPr>
            <a:lvl9pPr>
              <a:lnSpc>
                <a:spcPct val="107000"/>
              </a:lnSpc>
              <a:spcBef>
                <a:spcPts val="1000"/>
              </a:spcBef>
              <a:defRPr sz="1400"/>
            </a:lvl9pPr>
          </a:lstStyle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7989" y="1628775"/>
            <a:ext cx="3600450" cy="2328597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6" hasCustomPrompt="1"/>
          </p:nvPr>
        </p:nvSpPr>
        <p:spPr bwMode="gray">
          <a:xfrm>
            <a:off x="4295776" y="4181795"/>
            <a:ext cx="3600450" cy="1840123"/>
          </a:xfrm>
        </p:spPr>
        <p:txBody>
          <a:bodyPr/>
          <a:lstStyle>
            <a:lvl1pPr>
              <a:lnSpc>
                <a:spcPct val="107000"/>
              </a:lnSpc>
              <a:spcBef>
                <a:spcPts val="1000"/>
              </a:spcBef>
              <a:defRPr sz="1400"/>
            </a:lvl1pPr>
            <a:lvl2pPr>
              <a:lnSpc>
                <a:spcPct val="107000"/>
              </a:lnSpc>
              <a:spcBef>
                <a:spcPts val="1000"/>
              </a:spcBef>
              <a:defRPr sz="1400"/>
            </a:lvl2pPr>
            <a:lvl3pPr>
              <a:lnSpc>
                <a:spcPct val="107000"/>
              </a:lnSpc>
              <a:spcBef>
                <a:spcPts val="1000"/>
              </a:spcBef>
              <a:defRPr sz="1400"/>
            </a:lvl3pPr>
            <a:lvl4pPr>
              <a:lnSpc>
                <a:spcPct val="107000"/>
              </a:lnSpc>
              <a:spcBef>
                <a:spcPts val="1000"/>
              </a:spcBef>
              <a:defRPr sz="1400"/>
            </a:lvl4pPr>
            <a:lvl5pPr>
              <a:lnSpc>
                <a:spcPct val="107000"/>
              </a:lnSpc>
              <a:spcBef>
                <a:spcPts val="1000"/>
              </a:spcBef>
              <a:defRPr sz="1400"/>
            </a:lvl5pPr>
            <a:lvl6pPr>
              <a:lnSpc>
                <a:spcPct val="107000"/>
              </a:lnSpc>
              <a:spcBef>
                <a:spcPts val="1000"/>
              </a:spcBef>
              <a:defRPr sz="1400"/>
            </a:lvl6pPr>
            <a:lvl7pPr>
              <a:lnSpc>
                <a:spcPct val="107000"/>
              </a:lnSpc>
              <a:spcBef>
                <a:spcPts val="1000"/>
              </a:spcBef>
              <a:defRPr sz="1400"/>
            </a:lvl7pPr>
            <a:lvl8pPr>
              <a:lnSpc>
                <a:spcPct val="107000"/>
              </a:lnSpc>
              <a:spcBef>
                <a:spcPts val="1000"/>
              </a:spcBef>
              <a:defRPr sz="1400"/>
            </a:lvl8pPr>
            <a:lvl9pPr>
              <a:lnSpc>
                <a:spcPct val="107000"/>
              </a:lnSpc>
              <a:spcBef>
                <a:spcPts val="1000"/>
              </a:spcBef>
              <a:defRPr sz="1400"/>
            </a:lvl9pPr>
          </a:lstStyle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183563" y="1628775"/>
            <a:ext cx="3600450" cy="2328285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8" hasCustomPrompt="1"/>
          </p:nvPr>
        </p:nvSpPr>
        <p:spPr bwMode="gray">
          <a:xfrm>
            <a:off x="8183563" y="4181795"/>
            <a:ext cx="3600450" cy="1840123"/>
          </a:xfrm>
        </p:spPr>
        <p:txBody>
          <a:bodyPr/>
          <a:lstStyle>
            <a:lvl1pPr>
              <a:lnSpc>
                <a:spcPct val="107000"/>
              </a:lnSpc>
              <a:spcBef>
                <a:spcPts val="1000"/>
              </a:spcBef>
              <a:defRPr sz="1400"/>
            </a:lvl1pPr>
            <a:lvl2pPr>
              <a:lnSpc>
                <a:spcPct val="107000"/>
              </a:lnSpc>
              <a:spcBef>
                <a:spcPts val="1000"/>
              </a:spcBef>
              <a:defRPr sz="1400"/>
            </a:lvl2pPr>
            <a:lvl3pPr>
              <a:lnSpc>
                <a:spcPct val="107000"/>
              </a:lnSpc>
              <a:spcBef>
                <a:spcPts val="1000"/>
              </a:spcBef>
              <a:defRPr sz="1400"/>
            </a:lvl3pPr>
            <a:lvl4pPr>
              <a:lnSpc>
                <a:spcPct val="107000"/>
              </a:lnSpc>
              <a:spcBef>
                <a:spcPts val="1000"/>
              </a:spcBef>
              <a:defRPr sz="1400"/>
            </a:lvl4pPr>
            <a:lvl5pPr>
              <a:lnSpc>
                <a:spcPct val="107000"/>
              </a:lnSpc>
              <a:spcBef>
                <a:spcPts val="1000"/>
              </a:spcBef>
              <a:defRPr sz="1400"/>
            </a:lvl5pPr>
            <a:lvl6pPr>
              <a:lnSpc>
                <a:spcPct val="107000"/>
              </a:lnSpc>
              <a:spcBef>
                <a:spcPts val="1000"/>
              </a:spcBef>
              <a:defRPr sz="1400"/>
            </a:lvl6pPr>
            <a:lvl7pPr>
              <a:lnSpc>
                <a:spcPct val="107000"/>
              </a:lnSpc>
              <a:spcBef>
                <a:spcPts val="1000"/>
              </a:spcBef>
              <a:defRPr sz="1400"/>
            </a:lvl7pPr>
            <a:lvl8pPr>
              <a:lnSpc>
                <a:spcPct val="107000"/>
              </a:lnSpc>
              <a:spcBef>
                <a:spcPts val="1000"/>
              </a:spcBef>
              <a:defRPr sz="1400"/>
            </a:lvl8pPr>
            <a:lvl9pPr>
              <a:lnSpc>
                <a:spcPct val="107000"/>
              </a:lnSpc>
              <a:spcBef>
                <a:spcPts val="1000"/>
              </a:spcBef>
              <a:defRPr sz="1400"/>
            </a:lvl9pPr>
          </a:lstStyle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CEF4571-7353-41CF-981E-E2D5E5B3A7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39281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05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C7E431E-BD72-442D-9191-CD0AEB72C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95775" y="1628776"/>
            <a:ext cx="3600449" cy="2328598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8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407989" y="4181795"/>
            <a:ext cx="3600450" cy="1840123"/>
          </a:xfrm>
        </p:spPr>
        <p:txBody>
          <a:bodyPr/>
          <a:lstStyle>
            <a:lvl1pPr>
              <a:lnSpc>
                <a:spcPct val="107000"/>
              </a:lnSpc>
              <a:spcBef>
                <a:spcPts val="1000"/>
              </a:spcBef>
              <a:defRPr sz="1400"/>
            </a:lvl1pPr>
            <a:lvl2pPr>
              <a:lnSpc>
                <a:spcPct val="107000"/>
              </a:lnSpc>
              <a:spcBef>
                <a:spcPts val="1000"/>
              </a:spcBef>
              <a:defRPr sz="1400"/>
            </a:lvl2pPr>
            <a:lvl3pPr>
              <a:lnSpc>
                <a:spcPct val="107000"/>
              </a:lnSpc>
              <a:spcBef>
                <a:spcPts val="1000"/>
              </a:spcBef>
              <a:defRPr sz="1400"/>
            </a:lvl3pPr>
            <a:lvl4pPr>
              <a:lnSpc>
                <a:spcPct val="107000"/>
              </a:lnSpc>
              <a:spcBef>
                <a:spcPts val="1000"/>
              </a:spcBef>
              <a:defRPr sz="1400"/>
            </a:lvl4pPr>
            <a:lvl5pPr>
              <a:lnSpc>
                <a:spcPct val="107000"/>
              </a:lnSpc>
              <a:spcBef>
                <a:spcPts val="1000"/>
              </a:spcBef>
              <a:defRPr sz="1400"/>
            </a:lvl5pPr>
            <a:lvl6pPr>
              <a:lnSpc>
                <a:spcPct val="107000"/>
              </a:lnSpc>
              <a:spcBef>
                <a:spcPts val="1000"/>
              </a:spcBef>
              <a:defRPr sz="1400"/>
            </a:lvl6pPr>
            <a:lvl7pPr>
              <a:lnSpc>
                <a:spcPct val="107000"/>
              </a:lnSpc>
              <a:spcBef>
                <a:spcPts val="1000"/>
              </a:spcBef>
              <a:defRPr sz="1400"/>
            </a:lvl7pPr>
            <a:lvl8pPr>
              <a:lnSpc>
                <a:spcPct val="107000"/>
              </a:lnSpc>
              <a:spcBef>
                <a:spcPts val="1000"/>
              </a:spcBef>
              <a:defRPr sz="1400"/>
            </a:lvl8pPr>
            <a:lvl9pPr>
              <a:lnSpc>
                <a:spcPct val="107000"/>
              </a:lnSpc>
              <a:spcBef>
                <a:spcPts val="1000"/>
              </a:spcBef>
              <a:defRPr sz="1400"/>
            </a:lvl9pPr>
          </a:lstStyle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7989" y="1628775"/>
            <a:ext cx="3600450" cy="2328597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6" hasCustomPrompt="1"/>
          </p:nvPr>
        </p:nvSpPr>
        <p:spPr bwMode="gray">
          <a:xfrm>
            <a:off x="4295775" y="4181795"/>
            <a:ext cx="3600450" cy="1840123"/>
          </a:xfrm>
        </p:spPr>
        <p:txBody>
          <a:bodyPr/>
          <a:lstStyle>
            <a:lvl1pPr>
              <a:lnSpc>
                <a:spcPct val="107000"/>
              </a:lnSpc>
              <a:spcBef>
                <a:spcPts val="1000"/>
              </a:spcBef>
              <a:defRPr sz="1400"/>
            </a:lvl1pPr>
            <a:lvl2pPr>
              <a:lnSpc>
                <a:spcPct val="107000"/>
              </a:lnSpc>
              <a:spcBef>
                <a:spcPts val="1000"/>
              </a:spcBef>
              <a:defRPr sz="1400"/>
            </a:lvl2pPr>
            <a:lvl3pPr>
              <a:lnSpc>
                <a:spcPct val="107000"/>
              </a:lnSpc>
              <a:spcBef>
                <a:spcPts val="1000"/>
              </a:spcBef>
              <a:defRPr sz="1400"/>
            </a:lvl3pPr>
            <a:lvl4pPr>
              <a:lnSpc>
                <a:spcPct val="107000"/>
              </a:lnSpc>
              <a:spcBef>
                <a:spcPts val="1000"/>
              </a:spcBef>
              <a:defRPr sz="1400"/>
            </a:lvl4pPr>
            <a:lvl5pPr>
              <a:lnSpc>
                <a:spcPct val="107000"/>
              </a:lnSpc>
              <a:spcBef>
                <a:spcPts val="1000"/>
              </a:spcBef>
              <a:defRPr sz="1400"/>
            </a:lvl5pPr>
            <a:lvl6pPr>
              <a:lnSpc>
                <a:spcPct val="107000"/>
              </a:lnSpc>
              <a:spcBef>
                <a:spcPts val="1000"/>
              </a:spcBef>
              <a:defRPr sz="1400"/>
            </a:lvl6pPr>
            <a:lvl7pPr>
              <a:lnSpc>
                <a:spcPct val="107000"/>
              </a:lnSpc>
              <a:spcBef>
                <a:spcPts val="1000"/>
              </a:spcBef>
              <a:defRPr sz="1400"/>
            </a:lvl7pPr>
            <a:lvl8pPr>
              <a:lnSpc>
                <a:spcPct val="107000"/>
              </a:lnSpc>
              <a:spcBef>
                <a:spcPts val="1000"/>
              </a:spcBef>
              <a:defRPr sz="1400"/>
            </a:lvl8pPr>
            <a:lvl9pPr>
              <a:lnSpc>
                <a:spcPct val="107000"/>
              </a:lnSpc>
              <a:spcBef>
                <a:spcPts val="1000"/>
              </a:spcBef>
              <a:defRPr sz="1400"/>
            </a:lvl9pPr>
          </a:lstStyle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183563" y="1628775"/>
            <a:ext cx="3600450" cy="2328285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8" hasCustomPrompt="1"/>
          </p:nvPr>
        </p:nvSpPr>
        <p:spPr bwMode="gray">
          <a:xfrm>
            <a:off x="8183563" y="4181795"/>
            <a:ext cx="3600450" cy="1840123"/>
          </a:xfrm>
        </p:spPr>
        <p:txBody>
          <a:bodyPr/>
          <a:lstStyle>
            <a:lvl1pPr>
              <a:lnSpc>
                <a:spcPct val="107000"/>
              </a:lnSpc>
              <a:spcBef>
                <a:spcPts val="1000"/>
              </a:spcBef>
              <a:defRPr sz="1400"/>
            </a:lvl1pPr>
            <a:lvl2pPr>
              <a:lnSpc>
                <a:spcPct val="107000"/>
              </a:lnSpc>
              <a:spcBef>
                <a:spcPts val="1000"/>
              </a:spcBef>
              <a:defRPr sz="1400"/>
            </a:lvl2pPr>
            <a:lvl3pPr>
              <a:lnSpc>
                <a:spcPct val="107000"/>
              </a:lnSpc>
              <a:spcBef>
                <a:spcPts val="1000"/>
              </a:spcBef>
              <a:defRPr sz="1400"/>
            </a:lvl3pPr>
            <a:lvl4pPr>
              <a:lnSpc>
                <a:spcPct val="107000"/>
              </a:lnSpc>
              <a:spcBef>
                <a:spcPts val="1000"/>
              </a:spcBef>
              <a:defRPr sz="1400"/>
            </a:lvl4pPr>
            <a:lvl5pPr>
              <a:lnSpc>
                <a:spcPct val="107000"/>
              </a:lnSpc>
              <a:spcBef>
                <a:spcPts val="1000"/>
              </a:spcBef>
              <a:defRPr sz="1400"/>
            </a:lvl5pPr>
            <a:lvl6pPr>
              <a:lnSpc>
                <a:spcPct val="107000"/>
              </a:lnSpc>
              <a:spcBef>
                <a:spcPts val="1000"/>
              </a:spcBef>
              <a:defRPr sz="1400"/>
            </a:lvl6pPr>
            <a:lvl7pPr>
              <a:lnSpc>
                <a:spcPct val="107000"/>
              </a:lnSpc>
              <a:spcBef>
                <a:spcPts val="1000"/>
              </a:spcBef>
              <a:defRPr sz="1400"/>
            </a:lvl7pPr>
            <a:lvl8pPr>
              <a:lnSpc>
                <a:spcPct val="107000"/>
              </a:lnSpc>
              <a:spcBef>
                <a:spcPts val="1000"/>
              </a:spcBef>
              <a:defRPr sz="1400"/>
            </a:lvl8pPr>
            <a:lvl9pPr>
              <a:lnSpc>
                <a:spcPct val="107000"/>
              </a:lnSpc>
              <a:spcBef>
                <a:spcPts val="1000"/>
              </a:spcBef>
              <a:defRPr sz="1400"/>
            </a:lvl9pPr>
          </a:lstStyle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FD869FD2-A1A6-411F-9520-5EF42BB6EC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31347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only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6261315"/>
            <a:ext cx="12192000" cy="96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309320"/>
          </a:xfrm>
          <a:solidFill>
            <a:schemeClr val="bg1">
              <a:lumMod val="95000"/>
            </a:schemeClr>
          </a:solidFill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51295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only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07988" y="333375"/>
            <a:ext cx="11376025" cy="5688013"/>
          </a:xfrm>
          <a:noFill/>
        </p:spPr>
        <p:txBody>
          <a:bodyPr lIns="90000" tIns="46800" rIns="90000" bIns="46800"/>
          <a:lstStyle>
            <a:lvl1pPr marL="0" indent="0" algn="l">
              <a:buNone/>
              <a:defRPr/>
            </a:lvl1pPr>
          </a:lstStyle>
          <a:p>
            <a:r>
              <a:rPr lang="en-US" noProof="0" dirty="0"/>
              <a:t>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95180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7"/>
          <p:cNvSpPr/>
          <p:nvPr/>
        </p:nvSpPr>
        <p:spPr bwMode="gray">
          <a:xfrm>
            <a:off x="7011975" y="0"/>
            <a:ext cx="5180025" cy="6858000"/>
          </a:xfrm>
          <a:custGeom>
            <a:avLst/>
            <a:gdLst>
              <a:gd name="connsiteX0" fmla="*/ 3629319 w 5724128"/>
              <a:gd name="connsiteY0" fmla="*/ 45244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3629319 w 5724128"/>
              <a:gd name="connsiteY4" fmla="*/ 45244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77844 w 5724128"/>
              <a:gd name="connsiteY0" fmla="*/ 2381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77844 w 5724128"/>
              <a:gd name="connsiteY4" fmla="*/ 2381 h 5143500"/>
              <a:gd name="connsiteX0" fmla="*/ 4360355 w 5706639"/>
              <a:gd name="connsiteY0" fmla="*/ 2381 h 5143500"/>
              <a:gd name="connsiteX1" fmla="*/ 5706639 w 5706639"/>
              <a:gd name="connsiteY1" fmla="*/ 0 h 5143500"/>
              <a:gd name="connsiteX2" fmla="*/ 5706639 w 5706639"/>
              <a:gd name="connsiteY2" fmla="*/ 5143500 h 5143500"/>
              <a:gd name="connsiteX3" fmla="*/ 0 w 5706639"/>
              <a:gd name="connsiteY3" fmla="*/ 5143500 h 5143500"/>
              <a:gd name="connsiteX4" fmla="*/ 4360355 w 5706639"/>
              <a:gd name="connsiteY4" fmla="*/ 2381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06639" h="5143500">
                <a:moveTo>
                  <a:pt x="4360355" y="2381"/>
                </a:moveTo>
                <a:lnTo>
                  <a:pt x="5706639" y="0"/>
                </a:lnTo>
                <a:lnTo>
                  <a:pt x="5706639" y="5143500"/>
                </a:lnTo>
                <a:lnTo>
                  <a:pt x="0" y="5143500"/>
                </a:lnTo>
                <a:lnTo>
                  <a:pt x="4360355" y="238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460941"/>
            <a:ext cx="9432428" cy="1608019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Click to edit Master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9" y="3140969"/>
            <a:ext cx="9432428" cy="874044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1pPr>
            <a:lvl2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2pPr>
            <a:lvl3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3pPr>
            <a:lvl4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4pPr>
            <a:lvl5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5pPr>
            <a:lvl6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r>
              <a:rPr lang="en-US" noProof="0" dirty="0"/>
              <a:t>Click to edit Master subtitle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32E8717E-8EB2-4DB7-8834-2A871A1911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408000" y="405000"/>
            <a:ext cx="2160000" cy="5090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520894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09A170-7F0D-4E29-9677-74ABB303F1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13" hasCustomPrompt="1"/>
          </p:nvPr>
        </p:nvSpPr>
        <p:spPr bwMode="gray">
          <a:xfrm>
            <a:off x="407989" y="2371861"/>
            <a:ext cx="5543550" cy="3649526"/>
          </a:xfrm>
          <a:solidFill>
            <a:srgbClr val="DDDBDD"/>
          </a:solidFill>
        </p:spPr>
        <p:txBody>
          <a:bodyPr tIns="1296000"/>
          <a:lstStyle>
            <a:lvl1pPr marL="0" indent="0" algn="ctr">
              <a:buNone/>
              <a:defRPr sz="1400" baseline="0"/>
            </a:lvl1pPr>
          </a:lstStyle>
          <a:p>
            <a:r>
              <a:rPr lang="en-US" dirty="0"/>
              <a:t>Add chart (font 12 or 14 pts.)</a:t>
            </a:r>
          </a:p>
        </p:txBody>
      </p:sp>
      <p:sp>
        <p:nvSpPr>
          <p:cNvPr id="10" name="Diagrammplatzhalter 9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241128" y="2371861"/>
            <a:ext cx="5542885" cy="3649526"/>
          </a:xfrm>
          <a:solidFill>
            <a:srgbClr val="DDDBDD"/>
          </a:solidFill>
        </p:spPr>
        <p:txBody>
          <a:bodyPr tIns="1296000"/>
          <a:lstStyle>
            <a:lvl1pPr marL="0" marR="0" indent="0" algn="ctr" defTabSz="121917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ts val="0"/>
              </a:spcAft>
              <a:buClr>
                <a:schemeClr val="accent4">
                  <a:lumMod val="60000"/>
                  <a:lumOff val="40000"/>
                </a:schemeClr>
              </a:buClr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0" marR="0" lvl="0" indent="0" algn="ctr" defTabSz="121917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ts val="0"/>
              </a:spcAft>
              <a:buClr>
                <a:schemeClr val="accent4">
                  <a:lumMod val="60000"/>
                  <a:lumOff val="40000"/>
                </a:scheme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chart (font 12 or 14 pts.)</a:t>
            </a:r>
          </a:p>
        </p:txBody>
      </p:sp>
      <p:sp>
        <p:nvSpPr>
          <p:cNvPr id="11" name="MIO_VALID_LAYOUT" hidden="1"/>
          <p:cNvSpPr/>
          <p:nvPr/>
        </p:nvSpPr>
        <p:spPr bwMode="gray">
          <a:xfrm>
            <a:off x="11717717" y="-15733"/>
            <a:ext cx="474283" cy="393473"/>
          </a:xfrm>
          <a:prstGeom prst="noSmoking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672850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01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09A170-7F0D-4E29-9677-74ABB303F1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13" hasCustomPrompt="1"/>
          </p:nvPr>
        </p:nvSpPr>
        <p:spPr bwMode="gray">
          <a:xfrm>
            <a:off x="407989" y="2371861"/>
            <a:ext cx="5543550" cy="3649526"/>
          </a:xfrm>
          <a:solidFill>
            <a:srgbClr val="DDDBDD"/>
          </a:solidFill>
        </p:spPr>
        <p:txBody>
          <a:bodyPr tIns="1296000"/>
          <a:lstStyle>
            <a:lvl1pPr marL="0" indent="0" algn="ctr">
              <a:buNone/>
              <a:defRPr sz="1400" baseline="0"/>
            </a:lvl1pPr>
          </a:lstStyle>
          <a:p>
            <a:r>
              <a:rPr lang="en-US" dirty="0"/>
              <a:t>Add chart (font 12 or 14 pts.)</a:t>
            </a:r>
          </a:p>
        </p:txBody>
      </p:sp>
      <p:sp>
        <p:nvSpPr>
          <p:cNvPr id="10" name="Diagrammplatzhalter 9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241128" y="2371861"/>
            <a:ext cx="5542885" cy="3649526"/>
          </a:xfrm>
          <a:solidFill>
            <a:srgbClr val="DDDBDD"/>
          </a:solidFill>
        </p:spPr>
        <p:txBody>
          <a:bodyPr tIns="1296000"/>
          <a:lstStyle>
            <a:lvl1pPr marL="0" marR="0" indent="0" algn="ctr" defTabSz="121917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ts val="0"/>
              </a:spcAft>
              <a:buClr>
                <a:schemeClr val="accent4">
                  <a:lumMod val="60000"/>
                  <a:lumOff val="40000"/>
                </a:schemeClr>
              </a:buClr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0" marR="0" lvl="0" indent="0" algn="ctr" defTabSz="121917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ts val="0"/>
              </a:spcAft>
              <a:buClr>
                <a:schemeClr val="accent4">
                  <a:lumMod val="60000"/>
                  <a:lumOff val="40000"/>
                </a:schemeClr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chart (font 12 or 14 pts.)</a:t>
            </a:r>
          </a:p>
        </p:txBody>
      </p:sp>
      <p:sp>
        <p:nvSpPr>
          <p:cNvPr id="11" name="MIO_VALID_LAYOUT" hidden="1"/>
          <p:cNvSpPr/>
          <p:nvPr/>
        </p:nvSpPr>
        <p:spPr bwMode="gray">
          <a:xfrm>
            <a:off x="11717717" y="-15733"/>
            <a:ext cx="474283" cy="393473"/>
          </a:xfrm>
          <a:prstGeom prst="noSmoking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804B3273-8047-47E4-B5B7-70F8ED79C6C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33101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C65D61-31D9-4A34-811A-939C972053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7" name="MIO_VALID_LAYOUT" hidden="1"/>
          <p:cNvSpPr/>
          <p:nvPr/>
        </p:nvSpPr>
        <p:spPr bwMode="gray">
          <a:xfrm>
            <a:off x="11717717" y="-15733"/>
            <a:ext cx="474283" cy="393473"/>
          </a:xfrm>
          <a:prstGeom prst="noSmoking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 hasCustomPrompt="1"/>
          </p:nvPr>
        </p:nvSpPr>
        <p:spPr bwMode="gray">
          <a:xfrm>
            <a:off x="407989" y="2371862"/>
            <a:ext cx="11376024" cy="2964026"/>
          </a:xfrm>
          <a:solidFill>
            <a:srgbClr val="DDDBDD"/>
          </a:solidFill>
        </p:spPr>
        <p:txBody>
          <a:bodyPr tIns="972000"/>
          <a:lstStyle>
            <a:lvl1pPr marL="0" indent="0" algn="ctr">
              <a:buNone/>
              <a:defRPr sz="1400" baseline="0"/>
            </a:lvl1pPr>
          </a:lstStyle>
          <a:p>
            <a:r>
              <a:rPr lang="en-US" dirty="0"/>
              <a:t>Chart (14 pts.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012602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02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C65D61-31D9-4A34-811A-939C972053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7" name="MIO_VALID_LAYOUT" hidden="1"/>
          <p:cNvSpPr/>
          <p:nvPr/>
        </p:nvSpPr>
        <p:spPr bwMode="gray">
          <a:xfrm>
            <a:off x="11717717" y="-15733"/>
            <a:ext cx="474283" cy="393473"/>
          </a:xfrm>
          <a:prstGeom prst="noSmoking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 hasCustomPrompt="1"/>
          </p:nvPr>
        </p:nvSpPr>
        <p:spPr bwMode="gray">
          <a:xfrm>
            <a:off x="407989" y="2371862"/>
            <a:ext cx="11376024" cy="2964026"/>
          </a:xfrm>
          <a:solidFill>
            <a:srgbClr val="DDDBDD"/>
          </a:solidFill>
        </p:spPr>
        <p:txBody>
          <a:bodyPr tIns="972000"/>
          <a:lstStyle>
            <a:lvl1pPr marL="0" indent="0" algn="ctr">
              <a:buNone/>
              <a:defRPr sz="1400" baseline="0"/>
            </a:lvl1pPr>
          </a:lstStyle>
          <a:p>
            <a:r>
              <a:rPr lang="en-US" dirty="0"/>
              <a:t>Chart (14 pts.)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9A7F9E1-2199-440E-A8D2-7B49855E7D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93649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D2FB2F-07AE-4AD9-82AD-D54845761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13" hasCustomPrompt="1"/>
          </p:nvPr>
        </p:nvSpPr>
        <p:spPr bwMode="gray">
          <a:xfrm>
            <a:off x="407988" y="2253300"/>
            <a:ext cx="5543549" cy="1547294"/>
          </a:xfrm>
          <a:solidFill>
            <a:srgbClr val="DDDBDD"/>
          </a:solidFill>
        </p:spPr>
        <p:txBody>
          <a:bodyPr tIns="360000"/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Add chart (font 10 pts.)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248347" y="2253300"/>
            <a:ext cx="5535665" cy="1547294"/>
          </a:xfrm>
          <a:solidFill>
            <a:srgbClr val="DDDBDD"/>
          </a:solidFill>
        </p:spPr>
        <p:txBody>
          <a:bodyPr tIns="360000"/>
          <a:lstStyle>
            <a:lvl1pPr marL="0" indent="0" algn="ctr">
              <a:buNone/>
              <a:defRPr sz="1000" baseline="0"/>
            </a:lvl1pPr>
          </a:lstStyle>
          <a:p>
            <a:r>
              <a:rPr lang="en-US" dirty="0"/>
              <a:t>Add chart (font 10 pts.)</a:t>
            </a:r>
          </a:p>
        </p:txBody>
      </p:sp>
      <p:sp>
        <p:nvSpPr>
          <p:cNvPr id="10" name="Diagrammplatzhalter 9"/>
          <p:cNvSpPr>
            <a:spLocks noGrp="1"/>
          </p:cNvSpPr>
          <p:nvPr>
            <p:ph type="chart" sz="quarter" idx="15" hasCustomPrompt="1"/>
          </p:nvPr>
        </p:nvSpPr>
        <p:spPr bwMode="gray">
          <a:xfrm>
            <a:off x="407988" y="4469754"/>
            <a:ext cx="5543549" cy="1547294"/>
          </a:xfrm>
          <a:solidFill>
            <a:srgbClr val="DDDBDD"/>
          </a:solidFill>
        </p:spPr>
        <p:txBody>
          <a:bodyPr tIns="360000"/>
          <a:lstStyle>
            <a:lvl1pPr marL="0" indent="0" algn="ctr">
              <a:buNone/>
              <a:defRPr sz="1000" baseline="0"/>
            </a:lvl1pPr>
          </a:lstStyle>
          <a:p>
            <a:r>
              <a:rPr lang="en-US" dirty="0"/>
              <a:t>Add chart (font 10 pts.)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16" hasCustomPrompt="1"/>
          </p:nvPr>
        </p:nvSpPr>
        <p:spPr bwMode="gray">
          <a:xfrm>
            <a:off x="6248347" y="4469754"/>
            <a:ext cx="5535665" cy="1547294"/>
          </a:xfrm>
          <a:solidFill>
            <a:srgbClr val="DDDBDD"/>
          </a:solidFill>
        </p:spPr>
        <p:txBody>
          <a:bodyPr tIns="360000"/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Add chart (font 10 pts.)</a:t>
            </a:r>
          </a:p>
        </p:txBody>
      </p:sp>
      <p:sp>
        <p:nvSpPr>
          <p:cNvPr id="13" name="MIO_VALID_LAYOUT" hidden="1"/>
          <p:cNvSpPr/>
          <p:nvPr/>
        </p:nvSpPr>
        <p:spPr bwMode="gray">
          <a:xfrm>
            <a:off x="11717717" y="-15733"/>
            <a:ext cx="474283" cy="393473"/>
          </a:xfrm>
          <a:prstGeom prst="noSmoking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689474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03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D2FB2F-07AE-4AD9-82AD-D54845761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13" hasCustomPrompt="1"/>
          </p:nvPr>
        </p:nvSpPr>
        <p:spPr bwMode="gray">
          <a:xfrm>
            <a:off x="407988" y="2253300"/>
            <a:ext cx="5543549" cy="1547294"/>
          </a:xfrm>
          <a:solidFill>
            <a:srgbClr val="DDDBDD"/>
          </a:solidFill>
        </p:spPr>
        <p:txBody>
          <a:bodyPr tIns="360000"/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Add chart (font 10 pts.)</a:t>
            </a:r>
          </a:p>
        </p:txBody>
      </p:sp>
      <p:sp>
        <p:nvSpPr>
          <p:cNvPr id="8" name="Diagrammplatzhalter 7"/>
          <p:cNvSpPr>
            <a:spLocks noGrp="1"/>
          </p:cNvSpPr>
          <p:nvPr>
            <p:ph type="chart" sz="quarter" idx="14" hasCustomPrompt="1"/>
          </p:nvPr>
        </p:nvSpPr>
        <p:spPr bwMode="gray">
          <a:xfrm>
            <a:off x="6248347" y="2253300"/>
            <a:ext cx="5535665" cy="1547294"/>
          </a:xfrm>
          <a:solidFill>
            <a:srgbClr val="DDDBDD"/>
          </a:solidFill>
        </p:spPr>
        <p:txBody>
          <a:bodyPr tIns="360000"/>
          <a:lstStyle>
            <a:lvl1pPr marL="0" indent="0" algn="ctr">
              <a:buNone/>
              <a:defRPr sz="1000" baseline="0"/>
            </a:lvl1pPr>
          </a:lstStyle>
          <a:p>
            <a:r>
              <a:rPr lang="en-US" dirty="0"/>
              <a:t>Add chart (font 10 pts.)</a:t>
            </a:r>
          </a:p>
        </p:txBody>
      </p:sp>
      <p:sp>
        <p:nvSpPr>
          <p:cNvPr id="10" name="Diagrammplatzhalter 9"/>
          <p:cNvSpPr>
            <a:spLocks noGrp="1"/>
          </p:cNvSpPr>
          <p:nvPr>
            <p:ph type="chart" sz="quarter" idx="15" hasCustomPrompt="1"/>
          </p:nvPr>
        </p:nvSpPr>
        <p:spPr bwMode="gray">
          <a:xfrm>
            <a:off x="407988" y="4469754"/>
            <a:ext cx="5543549" cy="1547294"/>
          </a:xfrm>
          <a:solidFill>
            <a:srgbClr val="DDDBDD"/>
          </a:solidFill>
        </p:spPr>
        <p:txBody>
          <a:bodyPr tIns="360000"/>
          <a:lstStyle>
            <a:lvl1pPr marL="0" indent="0" algn="ctr">
              <a:buNone/>
              <a:defRPr sz="1000" baseline="0"/>
            </a:lvl1pPr>
          </a:lstStyle>
          <a:p>
            <a:r>
              <a:rPr lang="en-US" dirty="0"/>
              <a:t>Add chart (font 10 pts.)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16" hasCustomPrompt="1"/>
          </p:nvPr>
        </p:nvSpPr>
        <p:spPr bwMode="gray">
          <a:xfrm>
            <a:off x="6248347" y="4469754"/>
            <a:ext cx="5535665" cy="1547294"/>
          </a:xfrm>
          <a:solidFill>
            <a:srgbClr val="DDDBDD"/>
          </a:solidFill>
        </p:spPr>
        <p:txBody>
          <a:bodyPr tIns="360000"/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Add chart (font 10 pts.)</a:t>
            </a:r>
          </a:p>
        </p:txBody>
      </p:sp>
      <p:sp>
        <p:nvSpPr>
          <p:cNvPr id="13" name="MIO_VALID_LAYOUT" hidden="1"/>
          <p:cNvSpPr/>
          <p:nvPr/>
        </p:nvSpPr>
        <p:spPr bwMode="gray">
          <a:xfrm>
            <a:off x="11717717" y="-15733"/>
            <a:ext cx="474283" cy="393473"/>
          </a:xfrm>
          <a:prstGeom prst="noSmoking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E2FB80A0-C132-4018-B3A0-05CCA52C12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7988" y="837000"/>
            <a:ext cx="11376025" cy="288538"/>
          </a:xfrm>
        </p:spPr>
        <p:txBody>
          <a:bodyPr tIns="28800"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>
                <a:solidFill>
                  <a:srgbClr val="671C3E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pPr lvl="0"/>
            <a:r>
              <a:rPr lang="en-US" dirty="0"/>
              <a:t>Click to edit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248041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 bwMode="gray">
          <a:xfrm>
            <a:off x="478366" y="6261315"/>
            <a:ext cx="1133026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/>
          </a:p>
        </p:txBody>
      </p:sp>
      <p:sp>
        <p:nvSpPr>
          <p:cNvPr id="9" name="object 3"/>
          <p:cNvSpPr/>
          <p:nvPr/>
        </p:nvSpPr>
        <p:spPr bwMode="gray">
          <a:xfrm>
            <a:off x="0" y="0"/>
            <a:ext cx="12192000" cy="6309613"/>
          </a:xfrm>
          <a:custGeom>
            <a:avLst/>
            <a:gdLst/>
            <a:ahLst/>
            <a:cxnLst/>
            <a:rect l="l" t="t" r="r" b="b"/>
            <a:pathLst>
              <a:path w="9144000" h="4743894">
                <a:moveTo>
                  <a:pt x="0" y="4743907"/>
                </a:moveTo>
                <a:lnTo>
                  <a:pt x="9144000" y="4743907"/>
                </a:lnTo>
                <a:lnTo>
                  <a:pt x="9144000" y="12"/>
                </a:lnTo>
                <a:lnTo>
                  <a:pt x="0" y="12"/>
                </a:lnTo>
                <a:lnTo>
                  <a:pt x="0" y="4743907"/>
                </a:lnTo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3200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629000"/>
            <a:ext cx="7488236" cy="1368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Click to edit Master titl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0" hasCustomPrompt="1"/>
          </p:nvPr>
        </p:nvSpPr>
        <p:spPr bwMode="gray">
          <a:xfrm>
            <a:off x="407988" y="3105063"/>
            <a:ext cx="4871921" cy="2675555"/>
          </a:xfrm>
        </p:spPr>
        <p:txBody>
          <a:bodyPr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/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/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/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/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/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600" b="0"/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600" b="0"/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600" b="0"/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600" b="0"/>
            </a:lvl9pPr>
          </a:lstStyle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4BDB309A-4DF3-4FA6-B415-F1294E161C80}"/>
              </a:ext>
            </a:extLst>
          </p:cNvPr>
          <p:cNvSpPr/>
          <p:nvPr/>
        </p:nvSpPr>
        <p:spPr bwMode="gray">
          <a:xfrm>
            <a:off x="7624055" y="1200987"/>
            <a:ext cx="2046995" cy="3427412"/>
          </a:xfrm>
          <a:prstGeom prst="parallelogram">
            <a:avLst>
              <a:gd name="adj" fmla="val 9714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3EEADF8-6F86-4143-B2A8-E4CD037AD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Konference Červený kohout | Duben 2024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BC507B0-718C-4CAF-AAAB-1485D2FB2F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08065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0"/>
            <a:ext cx="12192000" cy="6309613"/>
          </a:xfrm>
          <a:prstGeom prst="rect">
            <a:avLst/>
          </a:prstGeom>
          <a:solidFill>
            <a:srgbClr val="7A7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9" y="1629000"/>
            <a:ext cx="7488236" cy="1368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0" hasCustomPrompt="1"/>
          </p:nvPr>
        </p:nvSpPr>
        <p:spPr bwMode="gray">
          <a:xfrm>
            <a:off x="407988" y="3105063"/>
            <a:ext cx="4871921" cy="2675555"/>
          </a:xfrm>
        </p:spPr>
        <p:txBody>
          <a:bodyPr/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2pPr>
            <a:lvl3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3pPr>
            <a:lvl4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4pPr>
            <a:lvl5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0" indent="0">
              <a:lnSpc>
                <a:spcPct val="107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6B08A845-01B2-4D54-A7D4-64E7D9A8A4B5}"/>
              </a:ext>
            </a:extLst>
          </p:cNvPr>
          <p:cNvSpPr/>
          <p:nvPr/>
        </p:nvSpPr>
        <p:spPr bwMode="gray">
          <a:xfrm>
            <a:off x="7624055" y="1200987"/>
            <a:ext cx="2046995" cy="3427412"/>
          </a:xfrm>
          <a:prstGeom prst="parallelogram">
            <a:avLst>
              <a:gd name="adj" fmla="val 9714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9C78038-3210-404B-A775-397D0A07CC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Konference Červený kohout | Duben 2024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1390124-38C4-443E-9E18-4D1A0E06C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002814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with 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3"/>
          </p:nvPr>
        </p:nvSpPr>
        <p:spPr>
          <a:xfrm>
            <a:off x="2116721" y="0"/>
            <a:ext cx="10075280" cy="6858000"/>
          </a:xfrm>
          <a:custGeom>
            <a:avLst/>
            <a:gdLst/>
            <a:ahLst/>
            <a:cxnLst/>
            <a:rect l="l" t="t" r="r" b="b"/>
            <a:pathLst>
              <a:path w="7556460" h="5143500">
                <a:moveTo>
                  <a:pt x="2989225" y="0"/>
                </a:moveTo>
                <a:lnTo>
                  <a:pt x="7556460" y="0"/>
                </a:lnTo>
                <a:lnTo>
                  <a:pt x="755646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lIns="90000" tIns="46800" rIns="90000" bIns="46800" rtlCol="0">
            <a:noAutofit/>
          </a:bodyPr>
          <a:lstStyle>
            <a:lvl1pPr marL="239994" indent="-239994" algn="r">
              <a:buNone/>
              <a:defRPr lang="de-DE" dirty="0"/>
            </a:lvl1pPr>
          </a:lstStyle>
          <a:p>
            <a:pPr marL="0" lvl="0" indent="0"/>
            <a:r>
              <a:rPr lang="en-US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78366" y="1460940"/>
            <a:ext cx="3841436" cy="1139967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78366" y="2650967"/>
            <a:ext cx="3311999" cy="874044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800" b="1">
                <a:solidFill>
                  <a:schemeClr val="accent5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785" y="452967"/>
            <a:ext cx="2160000" cy="513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2152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9629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4" progId="TCLayout.ActiveDocument.1">
                  <p:embed/>
                </p:oleObj>
              </mc:Choice>
              <mc:Fallback>
                <p:oleObj name="think-cell Slide" r:id="rId4" imgW="415" imgH="41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/>
              <a:t>Konference Červený kohout | Duben 2024</a:t>
            </a:r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6F8FB6F3-B5FF-45F4-8AF2-2669C315E9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Click to edit Master tit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312171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7A7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8" y="2531113"/>
            <a:ext cx="7134491" cy="115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8" y="3717032"/>
            <a:ext cx="7134491" cy="900000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2pPr>
            <a:lvl3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3pPr>
            <a:lvl4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4pPr>
            <a:lvl5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5pPr>
            <a:lvl6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6pPr>
            <a:lvl7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7pPr>
            <a:lvl8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8pPr>
            <a:lvl9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9pPr>
          </a:lstStyle>
          <a:p>
            <a:r>
              <a:rPr lang="en-US" noProof="0" dirty="0"/>
              <a:t>Click to edit Master subtitle</a:t>
            </a:r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5207F7E-7012-4494-B791-FC6B512767E4}"/>
              </a:ext>
            </a:extLst>
          </p:cNvPr>
          <p:cNvSpPr/>
          <p:nvPr/>
        </p:nvSpPr>
        <p:spPr bwMode="gray">
          <a:xfrm>
            <a:off x="7680327" y="1811338"/>
            <a:ext cx="2046995" cy="3427412"/>
          </a:xfrm>
          <a:prstGeom prst="parallelogram">
            <a:avLst>
              <a:gd name="adj" fmla="val 9714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5B97C058-6ADF-4F4B-B653-09FC14C91E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408000" y="405000"/>
            <a:ext cx="2160000" cy="5090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5476924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Onl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/>
              <a:t>Kliknutím lze upravit styl.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cs-CZ" noProof="0"/>
              <a:t>Upravte styly předlohy textu.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3322843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899444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988" y="2531113"/>
            <a:ext cx="7118634" cy="1152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4000" cap="all" baseline="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8" y="3717032"/>
            <a:ext cx="7118634" cy="900000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1pPr>
            <a:lvl2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2pPr>
            <a:lvl3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3pPr>
            <a:lvl4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4pPr>
            <a:lvl5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5pPr>
            <a:lvl6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6pPr>
            <a:lvl7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7pPr>
            <a:lvl8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8pPr>
            <a:lvl9pPr marL="0" indent="0" algn="l">
              <a:lnSpc>
                <a:spcPct val="107000"/>
              </a:lnSpc>
              <a:spcBef>
                <a:spcPts val="0"/>
              </a:spcBef>
              <a:buNone/>
              <a:defRPr sz="1800" b="1">
                <a:solidFill>
                  <a:srgbClr val="671C3E"/>
                </a:solidFill>
              </a:defRPr>
            </a:lvl9pPr>
          </a:lstStyle>
          <a:p>
            <a:r>
              <a:rPr lang="en-US" noProof="0" dirty="0"/>
              <a:t>Click to edit Master subtitle</a:t>
            </a:r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DFA93D18-6565-48AB-86BE-DDBED8D376E0}"/>
              </a:ext>
            </a:extLst>
          </p:cNvPr>
          <p:cNvSpPr/>
          <p:nvPr/>
        </p:nvSpPr>
        <p:spPr bwMode="gray">
          <a:xfrm>
            <a:off x="7680327" y="1811338"/>
            <a:ext cx="2046995" cy="3427412"/>
          </a:xfrm>
          <a:prstGeom prst="parallelogram">
            <a:avLst>
              <a:gd name="adj" fmla="val 9714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237C509B-0B75-4AB5-A0FE-94F3164809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408000" y="405000"/>
            <a:ext cx="2160000" cy="5090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639646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9629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4" progId="TCLayout.ActiveDocument.1">
                  <p:embed/>
                </p:oleObj>
              </mc:Choice>
              <mc:Fallback>
                <p:oleObj name="think-cell Slide" r:id="rId4" imgW="415" imgH="41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Konference Červený kohout | Duben 2024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6F8FB6F3-B5FF-45F4-8AF2-2669C315E9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81165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ly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266700" indent="-266700">
              <a:spcBef>
                <a:spcPts val="1000"/>
              </a:spcBef>
              <a:buClr>
                <a:srgbClr val="A19DA2"/>
              </a:buClr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ED1AA2E-EBD3-4EC3-A0BB-E5AAF80F9E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772643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ly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7"/>
          <p:cNvSpPr/>
          <p:nvPr/>
        </p:nvSpPr>
        <p:spPr bwMode="gray">
          <a:xfrm>
            <a:off x="8211670" y="0"/>
            <a:ext cx="3980329" cy="6858000"/>
          </a:xfrm>
          <a:custGeom>
            <a:avLst/>
            <a:gdLst>
              <a:gd name="connsiteX0" fmla="*/ 3629319 w 5724128"/>
              <a:gd name="connsiteY0" fmla="*/ 45244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3629319 w 5724128"/>
              <a:gd name="connsiteY4" fmla="*/ 45244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4342866 w 5724128"/>
              <a:gd name="connsiteY0" fmla="*/ 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  <a:gd name="connsiteX4" fmla="*/ 4342866 w 5724128"/>
              <a:gd name="connsiteY4" fmla="*/ 0 h 5143500"/>
              <a:gd name="connsiteX0" fmla="*/ 0 w 5724128"/>
              <a:gd name="connsiteY0" fmla="*/ 5143500 h 5143500"/>
              <a:gd name="connsiteX1" fmla="*/ 5724128 w 5724128"/>
              <a:gd name="connsiteY1" fmla="*/ 0 h 5143500"/>
              <a:gd name="connsiteX2" fmla="*/ 5724128 w 5724128"/>
              <a:gd name="connsiteY2" fmla="*/ 5143500 h 5143500"/>
              <a:gd name="connsiteX3" fmla="*/ 0 w 5724128"/>
              <a:gd name="connsiteY3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4128" h="5143500">
                <a:moveTo>
                  <a:pt x="0" y="5143500"/>
                </a:moveTo>
                <a:lnTo>
                  <a:pt x="5724128" y="0"/>
                </a:lnTo>
                <a:lnTo>
                  <a:pt x="5724128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07988" y="1628775"/>
            <a:ext cx="8711438" cy="4392613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2B4178FD-43BF-4968-A299-3450DC0CDF97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54B3EEEF-A498-4F04-AC6E-655D805C5B0A}"/>
              </a:ext>
            </a:extLst>
          </p:cNvPr>
          <p:cNvSpPr>
            <a:spLocks noChangeAspect="1"/>
          </p:cNvSpPr>
          <p:nvPr/>
        </p:nvSpPr>
        <p:spPr bwMode="gray">
          <a:xfrm>
            <a:off x="11228917" y="6462248"/>
            <a:ext cx="127259" cy="216000"/>
          </a:xfrm>
          <a:custGeom>
            <a:avLst/>
            <a:gdLst>
              <a:gd name="T0" fmla="*/ 1544 w 1570"/>
              <a:gd name="T1" fmla="*/ 0 h 2675"/>
              <a:gd name="T2" fmla="*/ 1544 w 1570"/>
              <a:gd name="T3" fmla="*/ 0 h 2675"/>
              <a:gd name="T4" fmla="*/ 0 w 1570"/>
              <a:gd name="T5" fmla="*/ 2675 h 2675"/>
              <a:gd name="T6" fmla="*/ 26 w 1570"/>
              <a:gd name="T7" fmla="*/ 2675 h 2675"/>
              <a:gd name="T8" fmla="*/ 1570 w 1570"/>
              <a:gd name="T9" fmla="*/ 0 h 2675"/>
              <a:gd name="T10" fmla="*/ 1544 w 1570"/>
              <a:gd name="T11" fmla="*/ 0 h 2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70" h="2675">
                <a:moveTo>
                  <a:pt x="1544" y="0"/>
                </a:moveTo>
                <a:lnTo>
                  <a:pt x="1544" y="0"/>
                </a:lnTo>
                <a:lnTo>
                  <a:pt x="0" y="2675"/>
                </a:lnTo>
                <a:lnTo>
                  <a:pt x="26" y="2675"/>
                </a:lnTo>
                <a:lnTo>
                  <a:pt x="1570" y="0"/>
                </a:lnTo>
                <a:lnTo>
                  <a:pt x="1544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B733DCD-D0ED-471A-8EE4-20DA9415D183}"/>
              </a:ext>
            </a:extLst>
          </p:cNvPr>
          <p:cNvSpPr/>
          <p:nvPr/>
        </p:nvSpPr>
        <p:spPr bwMode="gray">
          <a:xfrm>
            <a:off x="11288510" y="6430004"/>
            <a:ext cx="152079" cy="3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BB86EED-8D84-4E9A-BAC4-43E32953B56B}"/>
              </a:ext>
            </a:extLst>
          </p:cNvPr>
          <p:cNvSpPr/>
          <p:nvPr/>
        </p:nvSpPr>
        <p:spPr bwMode="gray">
          <a:xfrm>
            <a:off x="11172124" y="6678007"/>
            <a:ext cx="152079" cy="36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74E7D24-F547-4A59-83F8-AC2775E2FD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edit Master tit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080406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ags" Target="../tags/tag2.xml"/><Relationship Id="rId58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32099494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411" imgH="422" progId="TCLayout.ActiveDocument.1">
                  <p:embed/>
                </p:oleObj>
              </mc:Choice>
              <mc:Fallback>
                <p:oleObj name="think-cell Slide" r:id="rId55" imgW="411" imgH="422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07988" y="333000"/>
            <a:ext cx="11376025" cy="7925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07987" y="1628775"/>
            <a:ext cx="11376025" cy="43926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o switch between the set up text levels, use the "Increase list level" and "Decrease list level" functions on the Start tab.</a:t>
            </a:r>
          </a:p>
          <a:p>
            <a:pPr lvl="1"/>
            <a:r>
              <a:rPr lang="en-US" noProof="0" dirty="0"/>
              <a:t>2</a:t>
            </a:r>
          </a:p>
          <a:p>
            <a:pPr lvl="2"/>
            <a:r>
              <a:rPr lang="en-US" noProof="0" dirty="0"/>
              <a:t>3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632001" y="6469556"/>
            <a:ext cx="9108516" cy="1876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Konference Červený kohout | Duben 2024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424592" y="6470315"/>
            <a:ext cx="504056" cy="1868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2B4178FD-43BF-4968-A299-3450DC0CDF9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C4B56FAB-07B8-4150-8842-385D7BD7BA8E}"/>
              </a:ext>
            </a:extLst>
          </p:cNvPr>
          <p:cNvSpPr>
            <a:spLocks noChangeAspect="1"/>
          </p:cNvSpPr>
          <p:nvPr/>
        </p:nvSpPr>
        <p:spPr bwMode="gray">
          <a:xfrm>
            <a:off x="11228917" y="6462248"/>
            <a:ext cx="127259" cy="216000"/>
          </a:xfrm>
          <a:custGeom>
            <a:avLst/>
            <a:gdLst>
              <a:gd name="T0" fmla="*/ 1544 w 1570"/>
              <a:gd name="T1" fmla="*/ 0 h 2675"/>
              <a:gd name="T2" fmla="*/ 1544 w 1570"/>
              <a:gd name="T3" fmla="*/ 0 h 2675"/>
              <a:gd name="T4" fmla="*/ 0 w 1570"/>
              <a:gd name="T5" fmla="*/ 2675 h 2675"/>
              <a:gd name="T6" fmla="*/ 26 w 1570"/>
              <a:gd name="T7" fmla="*/ 2675 h 2675"/>
              <a:gd name="T8" fmla="*/ 1570 w 1570"/>
              <a:gd name="T9" fmla="*/ 0 h 2675"/>
              <a:gd name="T10" fmla="*/ 1544 w 1570"/>
              <a:gd name="T11" fmla="*/ 0 h 2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70" h="2675">
                <a:moveTo>
                  <a:pt x="1544" y="0"/>
                </a:moveTo>
                <a:lnTo>
                  <a:pt x="1544" y="0"/>
                </a:lnTo>
                <a:lnTo>
                  <a:pt x="0" y="2675"/>
                </a:lnTo>
                <a:lnTo>
                  <a:pt x="26" y="2675"/>
                </a:lnTo>
                <a:lnTo>
                  <a:pt x="1570" y="0"/>
                </a:lnTo>
                <a:lnTo>
                  <a:pt x="1544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02BFB88-8D10-4A00-8E3D-CA9A6FDA2E2E}"/>
              </a:ext>
            </a:extLst>
          </p:cNvPr>
          <p:cNvSpPr/>
          <p:nvPr/>
        </p:nvSpPr>
        <p:spPr bwMode="gray">
          <a:xfrm>
            <a:off x="11288510" y="6430004"/>
            <a:ext cx="152079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690D21E-A84B-4D0B-BABA-B4D1561ACCEA}"/>
              </a:ext>
            </a:extLst>
          </p:cNvPr>
          <p:cNvSpPr/>
          <p:nvPr/>
        </p:nvSpPr>
        <p:spPr bwMode="gray">
          <a:xfrm>
            <a:off x="11172124" y="6678007"/>
            <a:ext cx="152079" cy="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98B9BD1-E09B-4FB0-9069-24413CC2DAB5}"/>
              </a:ext>
            </a:extLst>
          </p:cNvPr>
          <p:cNvCxnSpPr/>
          <p:nvPr/>
        </p:nvCxnSpPr>
        <p:spPr bwMode="gray">
          <a:xfrm>
            <a:off x="407988" y="-171000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3C6AE7EF-8419-477D-B972-7AC647A65E03}"/>
              </a:ext>
            </a:extLst>
          </p:cNvPr>
          <p:cNvCxnSpPr/>
          <p:nvPr/>
        </p:nvCxnSpPr>
        <p:spPr bwMode="gray">
          <a:xfrm>
            <a:off x="4008000" y="-171000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1019560E-01E4-4931-B723-671E1DD9F0FE}"/>
              </a:ext>
            </a:extLst>
          </p:cNvPr>
          <p:cNvCxnSpPr/>
          <p:nvPr/>
        </p:nvCxnSpPr>
        <p:spPr bwMode="gray">
          <a:xfrm>
            <a:off x="4296000" y="-171000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6488AD63-355C-4C4C-80E4-0000C68933DC}"/>
              </a:ext>
            </a:extLst>
          </p:cNvPr>
          <p:cNvCxnSpPr/>
          <p:nvPr/>
        </p:nvCxnSpPr>
        <p:spPr bwMode="gray">
          <a:xfrm>
            <a:off x="11784013" y="-171000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68E62EA2-970C-4484-8750-11AA2591CA1B}"/>
              </a:ext>
            </a:extLst>
          </p:cNvPr>
          <p:cNvCxnSpPr/>
          <p:nvPr/>
        </p:nvCxnSpPr>
        <p:spPr bwMode="gray">
          <a:xfrm>
            <a:off x="5952000" y="-171000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D9A3DF59-1643-4F44-82C5-4A90582E4678}"/>
              </a:ext>
            </a:extLst>
          </p:cNvPr>
          <p:cNvCxnSpPr/>
          <p:nvPr/>
        </p:nvCxnSpPr>
        <p:spPr bwMode="gray">
          <a:xfrm>
            <a:off x="6240000" y="-171000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510A6AA5-C41D-4121-89FE-A11293E06DBB}"/>
              </a:ext>
            </a:extLst>
          </p:cNvPr>
          <p:cNvCxnSpPr/>
          <p:nvPr/>
        </p:nvCxnSpPr>
        <p:spPr bwMode="gray">
          <a:xfrm>
            <a:off x="7896000" y="-171000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9489B9FD-9C07-45B1-8CD4-8C352D257A21}"/>
              </a:ext>
            </a:extLst>
          </p:cNvPr>
          <p:cNvCxnSpPr/>
          <p:nvPr/>
        </p:nvCxnSpPr>
        <p:spPr bwMode="gray">
          <a:xfrm>
            <a:off x="8184000" y="-171000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7CDD3BA0-0CEF-46E9-A680-79AEB927BFD7}"/>
              </a:ext>
            </a:extLst>
          </p:cNvPr>
          <p:cNvCxnSpPr>
            <a:cxnSpLocks/>
          </p:cNvCxnSpPr>
          <p:nvPr/>
        </p:nvCxnSpPr>
        <p:spPr bwMode="gray">
          <a:xfrm rot="5400000">
            <a:off x="-132000" y="297000"/>
            <a:ext cx="0" cy="7200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Logo">
            <a:extLst>
              <a:ext uri="{FF2B5EF4-FFF2-40B4-BE49-F238E27FC236}">
                <a16:creationId xmlns:a16="http://schemas.microsoft.com/office/drawing/2014/main" id="{A2A9B173-23D7-442F-B3BC-AFF0AD7D654C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 bwMode="gray">
          <a:xfrm>
            <a:off x="408000" y="6453000"/>
            <a:ext cx="870754" cy="205200"/>
          </a:xfrm>
          <a:prstGeom prst="rect">
            <a:avLst/>
          </a:prstGeom>
        </p:spPr>
      </p:pic>
    </p:spTree>
    <p:custDataLst>
      <p:tags r:id="rId53"/>
    </p:custDataLst>
    <p:extLst>
      <p:ext uri="{BB962C8B-B14F-4D97-AF65-F5344CB8AC3E}">
        <p14:creationId xmlns:p14="http://schemas.microsoft.com/office/powerpoint/2010/main" val="3246290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74" r:id="rId5"/>
    <p:sldLayoutId id="2147483675" r:id="rId6"/>
    <p:sldLayoutId id="2147483654" r:id="rId7"/>
    <p:sldLayoutId id="2147483650" r:id="rId8"/>
    <p:sldLayoutId id="2147483676" r:id="rId9"/>
    <p:sldLayoutId id="2147483716" r:id="rId10"/>
    <p:sldLayoutId id="2147483717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72" r:id="rId17"/>
    <p:sldLayoutId id="2147483679" r:id="rId18"/>
    <p:sldLayoutId id="2147483718" r:id="rId19"/>
    <p:sldLayoutId id="2147483719" r:id="rId20"/>
    <p:sldLayoutId id="2147483680" r:id="rId21"/>
    <p:sldLayoutId id="2147483681" r:id="rId22"/>
    <p:sldLayoutId id="2147483692" r:id="rId23"/>
    <p:sldLayoutId id="2147483668" r:id="rId24"/>
    <p:sldLayoutId id="2147483699" r:id="rId25"/>
    <p:sldLayoutId id="2147483682" r:id="rId26"/>
    <p:sldLayoutId id="2147483700" r:id="rId27"/>
    <p:sldLayoutId id="2147483663" r:id="rId28"/>
    <p:sldLayoutId id="2147483701" r:id="rId29"/>
    <p:sldLayoutId id="2147483664" r:id="rId30"/>
    <p:sldLayoutId id="2147483702" r:id="rId31"/>
    <p:sldLayoutId id="2147483683" r:id="rId32"/>
    <p:sldLayoutId id="2147483703" r:id="rId33"/>
    <p:sldLayoutId id="2147483665" r:id="rId34"/>
    <p:sldLayoutId id="2147483704" r:id="rId35"/>
    <p:sldLayoutId id="2147483666" r:id="rId36"/>
    <p:sldLayoutId id="2147483705" r:id="rId37"/>
    <p:sldLayoutId id="2147483667" r:id="rId38"/>
    <p:sldLayoutId id="2147483673" r:id="rId39"/>
    <p:sldLayoutId id="2147483720" r:id="rId40"/>
    <p:sldLayoutId id="2147483706" r:id="rId41"/>
    <p:sldLayoutId id="2147483721" r:id="rId42"/>
    <p:sldLayoutId id="2147483707" r:id="rId43"/>
    <p:sldLayoutId id="2147483722" r:id="rId44"/>
    <p:sldLayoutId id="2147483708" r:id="rId45"/>
    <p:sldLayoutId id="2147483684" r:id="rId46"/>
    <p:sldLayoutId id="2147483685" r:id="rId47"/>
    <p:sldLayoutId id="2147483723" r:id="rId48"/>
    <p:sldLayoutId id="2147483724" r:id="rId49"/>
    <p:sldLayoutId id="2147483725" r:id="rId50"/>
    <p:sldLayoutId id="2147483726" r:id="rId51"/>
  </p:sldLayoutIdLst>
  <p:hf hdr="0" dt="0"/>
  <p:txStyles>
    <p:titleStyle>
      <a:lvl1pPr algn="l" defTabSz="1219170" rtl="0" eaLnBrk="1" latinLnBrk="0" hangingPunct="1">
        <a:lnSpc>
          <a:spcPts val="3270"/>
        </a:lnSpc>
        <a:spcBef>
          <a:spcPct val="0"/>
        </a:spcBef>
        <a:buNone/>
        <a:defRPr sz="30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1219170" rtl="0" eaLnBrk="1" latinLnBrk="0" hangingPunct="1">
        <a:lnSpc>
          <a:spcPct val="107000"/>
        </a:lnSpc>
        <a:spcBef>
          <a:spcPts val="1000"/>
        </a:spcBef>
        <a:buClr>
          <a:srgbClr val="A19DA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3600" indent="-266400" algn="l" defTabSz="1219170" rtl="0" eaLnBrk="1" latinLnBrk="0" hangingPunct="1">
        <a:lnSpc>
          <a:spcPct val="107000"/>
        </a:lnSpc>
        <a:spcBef>
          <a:spcPts val="1000"/>
        </a:spcBef>
        <a:buClr>
          <a:srgbClr val="A19DA2"/>
        </a:buClr>
        <a:buFont typeface="Arial" panose="020B0604020202020204" pitchFamily="34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66400" algn="l" defTabSz="1219170" rtl="0" eaLnBrk="1" latinLnBrk="0" hangingPunct="1">
        <a:spcBef>
          <a:spcPts val="600"/>
        </a:spcBef>
        <a:buClr>
          <a:srgbClr val="A19DA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400" indent="-266700" algn="l" defTabSz="1219170" rtl="0" eaLnBrk="1" latinLnBrk="0" hangingPunct="1">
        <a:spcBef>
          <a:spcPts val="600"/>
        </a:spcBef>
        <a:buClr>
          <a:srgbClr val="A19DA2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66700" algn="l" defTabSz="1219170" rtl="0" eaLnBrk="1" latinLnBrk="0" hangingPunct="1">
        <a:spcBef>
          <a:spcPts val="600"/>
        </a:spcBef>
        <a:buClr>
          <a:srgbClr val="A19DA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266400" algn="l" defTabSz="1219170" rtl="0" eaLnBrk="1" latinLnBrk="0" hangingPunct="1">
        <a:spcBef>
          <a:spcPct val="20000"/>
        </a:spcBef>
        <a:buClr>
          <a:srgbClr val="A19DA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620000" indent="-266400" algn="l" defTabSz="1219170" rtl="0" eaLnBrk="1" latinLnBrk="0" hangingPunct="1">
        <a:spcBef>
          <a:spcPct val="20000"/>
        </a:spcBef>
        <a:buClr>
          <a:srgbClr val="A19DA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620000" indent="-266400" algn="l" defTabSz="1219170" rtl="0" eaLnBrk="1" latinLnBrk="0" hangingPunct="1">
        <a:spcBef>
          <a:spcPct val="20000"/>
        </a:spcBef>
        <a:buClr>
          <a:srgbClr val="A19DA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266400" algn="l" defTabSz="1219170" rtl="0" eaLnBrk="1" latinLnBrk="0" hangingPunct="1">
        <a:spcBef>
          <a:spcPct val="20000"/>
        </a:spcBef>
        <a:buClr>
          <a:srgbClr val="A19DA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749">
          <p15:clr>
            <a:srgbClr val="F26B43"/>
          </p15:clr>
        </p15:guide>
        <p15:guide id="3" pos="3931">
          <p15:clr>
            <a:srgbClr val="F26B43"/>
          </p15:clr>
        </p15:guide>
        <p15:guide id="4" pos="7423">
          <p15:clr>
            <a:srgbClr val="F26B43"/>
          </p15:clr>
        </p15:guide>
        <p15:guide id="5" pos="257">
          <p15:clr>
            <a:srgbClr val="F26B43"/>
          </p15:clr>
        </p15:guide>
        <p15:guide id="6" orient="horz" pos="3793">
          <p15:clr>
            <a:srgbClr val="F26B43"/>
          </p15:clr>
        </p15:guide>
        <p15:guide id="7" orient="horz" pos="210">
          <p15:clr>
            <a:srgbClr val="F26B43"/>
          </p15:clr>
        </p15:guide>
        <p15:guide id="8" orient="horz" pos="1026">
          <p15:clr>
            <a:srgbClr val="F26B43"/>
          </p15:clr>
        </p15:guide>
        <p15:guide id="9" pos="2525">
          <p15:clr>
            <a:srgbClr val="F26B43"/>
          </p15:clr>
        </p15:guide>
        <p15:guide id="10" pos="2706">
          <p15:clr>
            <a:srgbClr val="F26B43"/>
          </p15:clr>
        </p15:guide>
        <p15:guide id="11" pos="4974">
          <p15:clr>
            <a:srgbClr val="F26B43"/>
          </p15:clr>
        </p15:guide>
        <p15:guide id="12" pos="5155">
          <p15:clr>
            <a:srgbClr val="F26B43"/>
          </p15:clr>
        </p15:guide>
        <p15:guide id="13" orient="horz" pos="7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59.x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60.xml"/><Relationship Id="rId6" Type="http://schemas.openxmlformats.org/officeDocument/2006/relationships/image" Target="../media/image13.jp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5.jpe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1.xml"/><Relationship Id="rId6" Type="http://schemas.openxmlformats.org/officeDocument/2006/relationships/image" Target="../media/image1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64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slideLayout" Target="../slideLayouts/slideLayout8.xml"/><Relationship Id="rId11" Type="http://schemas.openxmlformats.org/officeDocument/2006/relationships/image" Target="../media/image18.png"/><Relationship Id="rId5" Type="http://schemas.openxmlformats.org/officeDocument/2006/relationships/tags" Target="../tags/tag66.xml"/><Relationship Id="rId10" Type="http://schemas.openxmlformats.org/officeDocument/2006/relationships/image" Target="../media/image17.png"/><Relationship Id="rId4" Type="http://schemas.openxmlformats.org/officeDocument/2006/relationships/tags" Target="../tags/tag65.xml"/><Relationship Id="rId9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0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.xml"/><Relationship Id="rId6" Type="http://schemas.openxmlformats.org/officeDocument/2006/relationships/image" Target="../media/image19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50.xml"/><Relationship Id="rId1" Type="http://schemas.openxmlformats.org/officeDocument/2006/relationships/tags" Target="../tags/tag68.xml"/><Relationship Id="rId4" Type="http://schemas.openxmlformats.org/officeDocument/2006/relationships/image" Target="../media/image1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51.xml"/><Relationship Id="rId7" Type="http://schemas.openxmlformats.org/officeDocument/2006/relationships/image" Target="../media/image23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2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50.xml"/><Relationship Id="rId1" Type="http://schemas.openxmlformats.org/officeDocument/2006/relationships/tags" Target="../tags/tag71.xml"/><Relationship Id="rId6" Type="http://schemas.openxmlformats.org/officeDocument/2006/relationships/image" Target="../media/image26.png"/><Relationship Id="rId5" Type="http://schemas.openxmlformats.org/officeDocument/2006/relationships/image" Target="../media/image25.jpeg"/><Relationship Id="rId4" Type="http://schemas.openxmlformats.org/officeDocument/2006/relationships/image" Target="../media/image6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2.xml"/><Relationship Id="rId4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7CDF03A-24F9-41EE-84CF-00A4861115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7795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7CDF03A-24F9-41EE-84CF-00A4861115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442853" y="1460940"/>
            <a:ext cx="4139983" cy="1968060"/>
          </a:xfrm>
        </p:spPr>
        <p:txBody>
          <a:bodyPr vert="horz"/>
          <a:lstStyle/>
          <a:p>
            <a:r>
              <a:rPr lang="cs-CZ" dirty="0"/>
              <a:t>Červený kohout 2024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53839" y="3665157"/>
            <a:ext cx="4118010" cy="874044"/>
          </a:xfrm>
        </p:spPr>
        <p:txBody>
          <a:bodyPr/>
          <a:lstStyle/>
          <a:p>
            <a:r>
              <a:rPr lang="cs-CZ" dirty="0"/>
              <a:t>Ing. Aleš Havel</a:t>
            </a:r>
          </a:p>
          <a:p>
            <a:r>
              <a:rPr lang="cs-CZ" dirty="0"/>
              <a:t>České Budějovice</a:t>
            </a:r>
          </a:p>
          <a:p>
            <a:r>
              <a:rPr lang="cs-CZ" dirty="0"/>
              <a:t>Duben 2024</a:t>
            </a:r>
            <a:endParaRPr lang="en-GB" dirty="0"/>
          </a:p>
        </p:txBody>
      </p:sp>
      <p:pic>
        <p:nvPicPr>
          <p:cNvPr id="7" name="Picture Placeholder 20">
            <a:extLst>
              <a:ext uri="{FF2B5EF4-FFF2-40B4-BE49-F238E27FC236}">
                <a16:creationId xmlns:a16="http://schemas.microsoft.com/office/drawing/2014/main" id="{84151371-03CD-4304-B918-4FB426DD838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582837" y="-3960"/>
            <a:ext cx="7609164" cy="6861959"/>
          </a:xfrm>
        </p:spPr>
      </p:pic>
      <p:pic>
        <p:nvPicPr>
          <p:cNvPr id="8" name="Picture 6" descr="Saving Lives Fire Images, Stock Photos &amp; Vectors | Shutterstock">
            <a:extLst>
              <a:ext uri="{FF2B5EF4-FFF2-40B4-BE49-F238E27FC236}">
                <a16:creationId xmlns:a16="http://schemas.microsoft.com/office/drawing/2014/main" id="{C4A556DD-EFD2-4578-8503-2608594FEA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 bwMode="auto">
          <a:xfrm>
            <a:off x="4759034" y="-7620"/>
            <a:ext cx="4202086" cy="2314723"/>
          </a:xfrm>
          <a:prstGeom prst="parallelogram">
            <a:avLst>
              <a:gd name="adj" fmla="val 55690"/>
            </a:avLst>
          </a:prstGeom>
          <a:ln w="38100" cap="sq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Data Center - Fire &amp;amp; Security Services | Chubb">
            <a:extLst>
              <a:ext uri="{FF2B5EF4-FFF2-40B4-BE49-F238E27FC236}">
                <a16:creationId xmlns:a16="http://schemas.microsoft.com/office/drawing/2014/main" id="{55B43493-069E-4499-935B-9CE624F3D2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474"/>
          <a:stretch/>
        </p:blipFill>
        <p:spPr bwMode="auto">
          <a:xfrm>
            <a:off x="3485704" y="2297875"/>
            <a:ext cx="4283913" cy="2293388"/>
          </a:xfrm>
          <a:prstGeom prst="parallelogram">
            <a:avLst>
              <a:gd name="adj" fmla="val 55947"/>
            </a:avLst>
          </a:prstGeom>
          <a:ln w="38100" cap="sq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5">
            <a:extLst>
              <a:ext uri="{FF2B5EF4-FFF2-40B4-BE49-F238E27FC236}">
                <a16:creationId xmlns:a16="http://schemas.microsoft.com/office/drawing/2014/main" id="{FDAEF5AE-76B4-4301-AA3B-04D905330D9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23433" y="4588030"/>
            <a:ext cx="4273200" cy="2273481"/>
          </a:xfrm>
          <a:prstGeom prst="parallelogram">
            <a:avLst>
              <a:gd name="adj" fmla="val 55690"/>
            </a:avLst>
          </a:prstGeom>
          <a:ln w="38100" cap="sq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89B7F87-A0EC-4ABA-9AB7-5DDCFBDB988D}"/>
              </a:ext>
            </a:extLst>
          </p:cNvPr>
          <p:cNvSpPr txBox="1"/>
          <p:nvPr/>
        </p:nvSpPr>
        <p:spPr>
          <a:xfrm>
            <a:off x="2417074" y="5987010"/>
            <a:ext cx="159530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>
                <a:solidFill>
                  <a:schemeClr val="bg1"/>
                </a:solidFill>
              </a:rPr>
              <a:t>    Improve </a:t>
            </a:r>
          </a:p>
          <a:p>
            <a:r>
              <a:rPr lang="en-US" sz="1800" b="1">
                <a:solidFill>
                  <a:schemeClr val="bg1"/>
                </a:solidFill>
              </a:rPr>
              <a:t>  Building </a:t>
            </a:r>
          </a:p>
          <a:p>
            <a:r>
              <a:rPr lang="en-US" sz="1800" b="1">
                <a:solidFill>
                  <a:schemeClr val="bg1"/>
                </a:solidFill>
              </a:rPr>
              <a:t>Performan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C695F4-C136-4F24-A4FB-7F3CFC04E5FD}"/>
              </a:ext>
            </a:extLst>
          </p:cNvPr>
          <p:cNvSpPr txBox="1"/>
          <p:nvPr/>
        </p:nvSpPr>
        <p:spPr>
          <a:xfrm>
            <a:off x="3656370" y="3957223"/>
            <a:ext cx="158248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>
                <a:solidFill>
                  <a:schemeClr val="bg1"/>
                </a:solidFill>
              </a:rPr>
              <a:t>   Protecting </a:t>
            </a:r>
          </a:p>
          <a:p>
            <a:r>
              <a:rPr lang="en-US" sz="1800" b="1">
                <a:solidFill>
                  <a:schemeClr val="bg1"/>
                </a:solidFill>
              </a:rPr>
              <a:t>Asse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2473C06-1121-438F-A58D-676C0CBF7FD9}"/>
              </a:ext>
            </a:extLst>
          </p:cNvPr>
          <p:cNvSpPr txBox="1"/>
          <p:nvPr/>
        </p:nvSpPr>
        <p:spPr>
          <a:xfrm>
            <a:off x="4972804" y="1668757"/>
            <a:ext cx="10695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>
                <a:solidFill>
                  <a:schemeClr val="bg1"/>
                </a:solidFill>
              </a:rPr>
              <a:t>  Saving</a:t>
            </a:r>
          </a:p>
          <a:p>
            <a:r>
              <a:rPr lang="en-US" sz="1800" b="1">
                <a:solidFill>
                  <a:schemeClr val="bg1"/>
                </a:solidFill>
              </a:rPr>
              <a:t>Lives</a:t>
            </a:r>
          </a:p>
        </p:txBody>
      </p:sp>
    </p:spTree>
    <p:extLst>
      <p:ext uri="{BB962C8B-B14F-4D97-AF65-F5344CB8AC3E}">
        <p14:creationId xmlns:p14="http://schemas.microsoft.com/office/powerpoint/2010/main" val="34204538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DFC6B85-CFA0-4481-1B0C-0955FB809C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FC6B85-CFA0-4481-1B0C-0955FB809C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E2605929-E6DF-68EA-6949-AF32BD11A4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Konference Červený kohout | Duben 2024</a:t>
            </a:r>
            <a:endParaRPr lang="en-US" noProof="0"/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B016F90B-EBF3-4D11-A9F8-88FD2CEDFF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2</a:t>
            </a:fld>
            <a:endParaRPr lang="en-US" noProof="0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E077823E-02BE-6180-1FAB-51FCFB472A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Je tento prostup vyhotovený správně?</a:t>
            </a:r>
            <a:endParaRPr lang="en-US" dirty="0"/>
          </a:p>
        </p:txBody>
      </p:sp>
      <p:pic>
        <p:nvPicPr>
          <p:cNvPr id="14" name="Obrázek 13">
            <a:extLst>
              <a:ext uri="{FF2B5EF4-FFF2-40B4-BE49-F238E27FC236}">
                <a16:creationId xmlns:a16="http://schemas.microsoft.com/office/drawing/2014/main" id="{7F5492E1-C5D6-C2B6-891B-543CF133C5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12024" y="1700808"/>
            <a:ext cx="5381354" cy="3979171"/>
          </a:xfrm>
          <a:prstGeom prst="rect">
            <a:avLst/>
          </a:prstGeom>
        </p:spPr>
      </p:pic>
      <p:pic>
        <p:nvPicPr>
          <p:cNvPr id="15" name="Zástupný symbol obrázku 4">
            <a:extLst>
              <a:ext uri="{FF2B5EF4-FFF2-40B4-BE49-F238E27FC236}">
                <a16:creationId xmlns:a16="http://schemas.microsoft.com/office/drawing/2014/main" id="{216FB18E-9DFB-6BF0-9463-F1903658758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85" r="7087" b="35464"/>
          <a:stretch/>
        </p:blipFill>
        <p:spPr>
          <a:xfrm>
            <a:off x="407988" y="1911615"/>
            <a:ext cx="5553262" cy="353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994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EBA6241-3491-BC31-02C3-367F14AAD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5411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BA6241-3491-BC31-02C3-367F14AAD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obsah 1">
            <a:extLst>
              <a:ext uri="{FF2B5EF4-FFF2-40B4-BE49-F238E27FC236}">
                <a16:creationId xmlns:a16="http://schemas.microsoft.com/office/drawing/2014/main" id="{37A17FF2-D835-BF29-870D-00960FF272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3882078"/>
            <a:ext cx="3600451" cy="2139310"/>
          </a:xfrm>
        </p:spPr>
        <p:txBody>
          <a:bodyPr/>
          <a:lstStyle/>
          <a:p>
            <a:pPr marL="0" indent="0">
              <a:buNone/>
            </a:pPr>
            <a:r>
              <a:rPr lang="cs-CZ" sz="1600" dirty="0"/>
              <a:t>EN 1366-3</a:t>
            </a:r>
          </a:p>
          <a:p>
            <a:r>
              <a:rPr lang="cs-CZ" sz="1600" dirty="0"/>
              <a:t>Testování těsnění provozních instalací (potrubí, kabely)</a:t>
            </a:r>
          </a:p>
          <a:p>
            <a:r>
              <a:rPr lang="cs-CZ" sz="1600" dirty="0"/>
              <a:t>Prostupy VZT jsou z normy vyloučeny</a:t>
            </a:r>
          </a:p>
          <a:p>
            <a:r>
              <a:rPr lang="cs-CZ" sz="1600" dirty="0"/>
              <a:t>Způsob těsnění předepisuje výrobce požárních ucpávek</a:t>
            </a:r>
            <a:endParaRPr lang="en-US" sz="1600" dirty="0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9037FCD1-8714-3503-368C-6E5E7B589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545467A0-E8B6-8F50-21C9-9D8A55917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Prostupy provozních instalací a VZT v kontextu zkoušení požární odolnosti</a:t>
            </a:r>
            <a:endParaRPr lang="en-US" dirty="0"/>
          </a:p>
        </p:txBody>
      </p:sp>
      <p:sp>
        <p:nvSpPr>
          <p:cNvPr id="22" name="Zástupný obsah 1">
            <a:extLst>
              <a:ext uri="{FF2B5EF4-FFF2-40B4-BE49-F238E27FC236}">
                <a16:creationId xmlns:a16="http://schemas.microsoft.com/office/drawing/2014/main" id="{FBB7FFA1-EF2A-7B82-98BB-286AC18D32CB}"/>
              </a:ext>
            </a:extLst>
          </p:cNvPr>
          <p:cNvSpPr txBox="1">
            <a:spLocks/>
          </p:cNvSpPr>
          <p:nvPr/>
        </p:nvSpPr>
        <p:spPr bwMode="gray">
          <a:xfrm>
            <a:off x="4295775" y="3880189"/>
            <a:ext cx="3600451" cy="21507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700" indent="-266700" algn="l" defTabSz="1219170" rtl="0" eaLnBrk="1" latinLnBrk="0" hangingPunct="1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3600" indent="-266400" algn="l" defTabSz="1219170" rtl="0" eaLnBrk="1" latinLnBrk="0" hangingPunct="1">
              <a:lnSpc>
                <a:spcPct val="107000"/>
              </a:lnSpc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66400" algn="l" defTabSz="1219170" rtl="0" eaLnBrk="1" latinLnBrk="0" hangingPunct="1"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00" indent="-266700" algn="l" defTabSz="1219170" rtl="0" eaLnBrk="1" latinLnBrk="0" hangingPunct="1"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66700" algn="l" defTabSz="1219170" rtl="0" eaLnBrk="1" latinLnBrk="0" hangingPunct="1"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cs-CZ" sz="1600" dirty="0"/>
              <a:t>EN 1366-2</a:t>
            </a:r>
          </a:p>
          <a:p>
            <a:r>
              <a:rPr lang="cs-CZ" sz="1600" dirty="0"/>
              <a:t>Testování VZT potrubí osazené požární klapkou umístěnou v požárně dělící konstrukci i předsazenou požární klapkou</a:t>
            </a:r>
          </a:p>
          <a:p>
            <a:r>
              <a:rPr lang="cs-CZ" sz="1600" dirty="0"/>
              <a:t>Způsob těsnění předepisuje výrobce požární klapky</a:t>
            </a:r>
            <a:endParaRPr lang="en-US" sz="1600" dirty="0"/>
          </a:p>
        </p:txBody>
      </p:sp>
      <p:sp>
        <p:nvSpPr>
          <p:cNvPr id="23" name="Zástupný obsah 1">
            <a:extLst>
              <a:ext uri="{FF2B5EF4-FFF2-40B4-BE49-F238E27FC236}">
                <a16:creationId xmlns:a16="http://schemas.microsoft.com/office/drawing/2014/main" id="{A6B26F6E-0647-36FE-0181-D12A850C50F4}"/>
              </a:ext>
            </a:extLst>
          </p:cNvPr>
          <p:cNvSpPr txBox="1">
            <a:spLocks/>
          </p:cNvSpPr>
          <p:nvPr/>
        </p:nvSpPr>
        <p:spPr bwMode="gray">
          <a:xfrm>
            <a:off x="8183563" y="3880189"/>
            <a:ext cx="3600451" cy="21724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700" indent="-266700" algn="l" defTabSz="1219170" rtl="0" eaLnBrk="1" latinLnBrk="0" hangingPunct="1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3600" indent="-266400" algn="l" defTabSz="1219170" rtl="0" eaLnBrk="1" latinLnBrk="0" hangingPunct="1">
              <a:lnSpc>
                <a:spcPct val="107000"/>
              </a:lnSpc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66400" algn="l" defTabSz="1219170" rtl="0" eaLnBrk="1" latinLnBrk="0" hangingPunct="1"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00" indent="-266700" algn="l" defTabSz="1219170" rtl="0" eaLnBrk="1" latinLnBrk="0" hangingPunct="1"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66700" algn="l" defTabSz="1219170" rtl="0" eaLnBrk="1" latinLnBrk="0" hangingPunct="1"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cs-CZ" sz="1600" dirty="0"/>
              <a:t>EN 1366-1</a:t>
            </a:r>
          </a:p>
          <a:p>
            <a:r>
              <a:rPr lang="cs-CZ" sz="1600" dirty="0"/>
              <a:t>Testování prostupů VZT bez požární klapky</a:t>
            </a:r>
          </a:p>
          <a:p>
            <a:r>
              <a:rPr lang="cs-CZ" sz="1600" dirty="0"/>
              <a:t>Dělení na potrubí na typ A </a:t>
            </a:r>
            <a:r>
              <a:rPr lang="cs-CZ" sz="1600" dirty="0" err="1"/>
              <a:t>a</a:t>
            </a:r>
            <a:r>
              <a:rPr lang="cs-CZ" sz="1600" dirty="0"/>
              <a:t> typ B</a:t>
            </a:r>
          </a:p>
          <a:p>
            <a:r>
              <a:rPr lang="cs-CZ" sz="1600" dirty="0"/>
              <a:t>Způsob těsnění udává výrobce požární izolace</a:t>
            </a:r>
            <a:endParaRPr lang="en-US" sz="1600" dirty="0"/>
          </a:p>
        </p:txBody>
      </p:sp>
      <p:pic>
        <p:nvPicPr>
          <p:cNvPr id="25" name="Obrázek 24">
            <a:extLst>
              <a:ext uri="{FF2B5EF4-FFF2-40B4-BE49-F238E27FC236}">
                <a16:creationId xmlns:a16="http://schemas.microsoft.com/office/drawing/2014/main" id="{FD6EC36A-CE1B-1BF4-88A7-02F8C4C9A5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5803" y="1731346"/>
            <a:ext cx="2460393" cy="2150732"/>
          </a:xfrm>
          <a:prstGeom prst="rect">
            <a:avLst/>
          </a:prstGeom>
        </p:spPr>
      </p:pic>
      <p:pic>
        <p:nvPicPr>
          <p:cNvPr id="27" name="Obrázek 26">
            <a:extLst>
              <a:ext uri="{FF2B5EF4-FFF2-40B4-BE49-F238E27FC236}">
                <a16:creationId xmlns:a16="http://schemas.microsoft.com/office/drawing/2014/main" id="{3869B5A0-EBD7-A9A1-BA94-A373B1542E3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6795" y="1736320"/>
            <a:ext cx="2747797" cy="2060848"/>
          </a:xfrm>
          <a:prstGeom prst="rect">
            <a:avLst/>
          </a:prstGeom>
        </p:spPr>
      </p:pic>
      <p:pic>
        <p:nvPicPr>
          <p:cNvPr id="29" name="Obrázek 28">
            <a:extLst>
              <a:ext uri="{FF2B5EF4-FFF2-40B4-BE49-F238E27FC236}">
                <a16:creationId xmlns:a16="http://schemas.microsoft.com/office/drawing/2014/main" id="{BA7BA9CC-E5D8-5077-8FE9-570A096A811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20"/>
          <a:stretch/>
        </p:blipFill>
        <p:spPr>
          <a:xfrm>
            <a:off x="742782" y="1734127"/>
            <a:ext cx="2930859" cy="2065822"/>
          </a:xfrm>
          <a:prstGeom prst="rect">
            <a:avLst/>
          </a:prstGeom>
        </p:spPr>
      </p:pic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1F2155B2-6A3D-F673-B12D-0CC13D9791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3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475588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494F5E0-BC90-2712-EBD9-0CC6C7C8C3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0881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3" progId="TCLayout.ActiveDocument.1">
                  <p:embed/>
                </p:oleObj>
              </mc:Choice>
              <mc:Fallback>
                <p:oleObj name="think-cell Slide" r:id="rId8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94F5E0-BC90-2712-EBD9-0CC6C7C8C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Zástupný obsah 6">
            <a:extLst>
              <a:ext uri="{FF2B5EF4-FFF2-40B4-BE49-F238E27FC236}">
                <a16:creationId xmlns:a16="http://schemas.microsoft.com/office/drawing/2014/main" id="{6B5A3C51-D963-57BB-C75C-2D5F2F6D6AC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10"/>
          <a:stretch>
            <a:fillRect/>
          </a:stretch>
        </p:blipFill>
        <p:spPr>
          <a:xfrm>
            <a:off x="6289643" y="4581130"/>
            <a:ext cx="5463698" cy="1203016"/>
          </a:xfrm>
        </p:spPr>
      </p:pic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9F698D3D-6CD4-E4A9-D488-38C880DD73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62848977-291E-18E4-5747-3864FE217D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Stanovení požadované požární odolnosti v závislosti na systému těsnění</a:t>
            </a:r>
            <a:endParaRPr lang="en-US" dirty="0"/>
          </a:p>
        </p:txBody>
      </p:sp>
      <p:grpSp>
        <p:nvGrpSpPr>
          <p:cNvPr id="16" name="Group 24">
            <a:extLst>
              <a:ext uri="{FF2B5EF4-FFF2-40B4-BE49-F238E27FC236}">
                <a16:creationId xmlns:a16="http://schemas.microsoft.com/office/drawing/2014/main" id="{E942C6B4-9EAE-92A3-4513-2A01048334AB}"/>
              </a:ext>
            </a:extLst>
          </p:cNvPr>
          <p:cNvGrpSpPr>
            <a:grpSpLocks/>
          </p:cNvGrpSpPr>
          <p:nvPr/>
        </p:nvGrpSpPr>
        <p:grpSpPr bwMode="auto">
          <a:xfrm>
            <a:off x="407989" y="1334536"/>
            <a:ext cx="5543550" cy="296144"/>
            <a:chOff x="521" y="1110"/>
            <a:chExt cx="5117" cy="190"/>
          </a:xfrm>
        </p:grpSpPr>
        <p:sp>
          <p:nvSpPr>
            <p:cNvPr id="17" name="Text Box 21">
              <a:extLst>
                <a:ext uri="{FF2B5EF4-FFF2-40B4-BE49-F238E27FC236}">
                  <a16:creationId xmlns:a16="http://schemas.microsoft.com/office/drawing/2014/main" id="{35D9818B-8E87-0E67-099B-2F6B6C96E63A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521" y="1110"/>
              <a:ext cx="5117" cy="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 algn="ctr"/>
              <a:r>
                <a:rPr lang="cs-CZ" sz="1800" b="1" dirty="0">
                  <a:solidFill>
                    <a:schemeClr val="tx2">
                      <a:lumMod val="50000"/>
                    </a:schemeClr>
                  </a:solidFill>
                  <a:cs typeface="Arial"/>
                </a:rPr>
                <a:t>Stanovení PO požárních ucpávek</a:t>
              </a:r>
              <a:endParaRPr lang="en-US" sz="1800" b="1" dirty="0">
                <a:solidFill>
                  <a:schemeClr val="tx2">
                    <a:lumMod val="50000"/>
                  </a:schemeClr>
                </a:solidFill>
                <a:cs typeface="Arial"/>
              </a:endParaRPr>
            </a:p>
          </p:txBody>
        </p:sp>
        <p:sp>
          <p:nvSpPr>
            <p:cNvPr id="18" name="Line 8">
              <a:extLst>
                <a:ext uri="{FF2B5EF4-FFF2-40B4-BE49-F238E27FC236}">
                  <a16:creationId xmlns:a16="http://schemas.microsoft.com/office/drawing/2014/main" id="{1701F40F-C67D-6601-B541-A04E8DF7A391}"/>
                </a:ext>
              </a:extLst>
            </p:cNvPr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gray">
            <a:xfrm flipV="1">
              <a:off x="521" y="1300"/>
              <a:ext cx="5117" cy="0"/>
            </a:xfrm>
            <a:prstGeom prst="line">
              <a:avLst/>
            </a:prstGeom>
            <a:noFill/>
            <a:ln w="19050">
              <a:solidFill>
                <a:schemeClr val="accent6">
                  <a:lumMod val="50000"/>
                </a:schemeClr>
              </a:solidFill>
              <a:round/>
              <a:headEnd/>
              <a:tailEnd/>
            </a:ln>
          </p:spPr>
          <p:txBody>
            <a:bodyPr lIns="18000" rIns="18000" anchor="ctr"/>
            <a:lstStyle/>
            <a:p>
              <a:endParaRPr lang="en-US" sz="1800">
                <a:solidFill>
                  <a:schemeClr val="accent5"/>
                </a:solidFill>
                <a:cs typeface="Arial"/>
              </a:endParaRPr>
            </a:p>
          </p:txBody>
        </p:sp>
      </p:grpSp>
      <p:grpSp>
        <p:nvGrpSpPr>
          <p:cNvPr id="19" name="Group 24">
            <a:extLst>
              <a:ext uri="{FF2B5EF4-FFF2-40B4-BE49-F238E27FC236}">
                <a16:creationId xmlns:a16="http://schemas.microsoft.com/office/drawing/2014/main" id="{47C4BA81-F648-3D0E-CD53-2EDAE2C80503}"/>
              </a:ext>
            </a:extLst>
          </p:cNvPr>
          <p:cNvGrpSpPr>
            <a:grpSpLocks/>
          </p:cNvGrpSpPr>
          <p:nvPr/>
        </p:nvGrpSpPr>
        <p:grpSpPr bwMode="auto">
          <a:xfrm>
            <a:off x="6240463" y="1332634"/>
            <a:ext cx="5543550" cy="296144"/>
            <a:chOff x="521" y="1110"/>
            <a:chExt cx="5117" cy="190"/>
          </a:xfrm>
        </p:grpSpPr>
        <p:sp>
          <p:nvSpPr>
            <p:cNvPr id="20" name="Text Box 21">
              <a:extLst>
                <a:ext uri="{FF2B5EF4-FFF2-40B4-BE49-F238E27FC236}">
                  <a16:creationId xmlns:a16="http://schemas.microsoft.com/office/drawing/2014/main" id="{0D528F64-5A55-BD0A-0326-2F27BFFFAF93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521" y="1110"/>
              <a:ext cx="5117" cy="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8288" anchor="b">
              <a:spAutoFit/>
            </a:bodyPr>
            <a:lstStyle/>
            <a:p>
              <a:pPr algn="ctr"/>
              <a:r>
                <a:rPr lang="cs-CZ" sz="1800" b="1" dirty="0">
                  <a:solidFill>
                    <a:schemeClr val="tx2">
                      <a:lumMod val="50000"/>
                    </a:schemeClr>
                  </a:solidFill>
                  <a:cs typeface="Arial"/>
                </a:rPr>
                <a:t>Stanovení PO těsnění kolem VZT prostupů</a:t>
              </a:r>
              <a:endParaRPr lang="en-US" sz="1800" b="1" dirty="0">
                <a:solidFill>
                  <a:schemeClr val="tx2">
                    <a:lumMod val="50000"/>
                  </a:schemeClr>
                </a:solidFill>
                <a:cs typeface="Arial"/>
              </a:endParaRPr>
            </a:p>
          </p:txBody>
        </p:sp>
        <p:sp>
          <p:nvSpPr>
            <p:cNvPr id="21" name="Line 8">
              <a:extLst>
                <a:ext uri="{FF2B5EF4-FFF2-40B4-BE49-F238E27FC236}">
                  <a16:creationId xmlns:a16="http://schemas.microsoft.com/office/drawing/2014/main" id="{C5BA93B8-233C-D3F2-2C74-31C4CF54B0B2}"/>
                </a:ext>
              </a:extLst>
            </p:cNvPr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gray">
            <a:xfrm flipV="1">
              <a:off x="521" y="1300"/>
              <a:ext cx="5117" cy="0"/>
            </a:xfrm>
            <a:prstGeom prst="line">
              <a:avLst/>
            </a:prstGeom>
            <a:noFill/>
            <a:ln w="19050">
              <a:solidFill>
                <a:schemeClr val="accent6">
                  <a:lumMod val="50000"/>
                </a:schemeClr>
              </a:solidFill>
              <a:round/>
              <a:headEnd/>
              <a:tailEnd/>
            </a:ln>
          </p:spPr>
          <p:txBody>
            <a:bodyPr lIns="18000" rIns="18000" anchor="ctr"/>
            <a:lstStyle/>
            <a:p>
              <a:endParaRPr lang="en-US" sz="1800">
                <a:solidFill>
                  <a:schemeClr val="accent5"/>
                </a:solidFill>
                <a:cs typeface="Arial"/>
              </a:endParaRPr>
            </a:p>
          </p:txBody>
        </p:sp>
      </p:grpSp>
      <p:pic>
        <p:nvPicPr>
          <p:cNvPr id="23" name="Obrázek 22">
            <a:extLst>
              <a:ext uri="{FF2B5EF4-FFF2-40B4-BE49-F238E27FC236}">
                <a16:creationId xmlns:a16="http://schemas.microsoft.com/office/drawing/2014/main" id="{5F5F2B80-01AD-6ADE-86CD-FED70921302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95400" y="4320444"/>
            <a:ext cx="4943612" cy="1469723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FD64B421-952A-B2A0-F5FF-2B299C5CC121}"/>
              </a:ext>
            </a:extLst>
          </p:cNvPr>
          <p:cNvSpPr txBox="1"/>
          <p:nvPr/>
        </p:nvSpPr>
        <p:spPr>
          <a:xfrm>
            <a:off x="428021" y="1926824"/>
            <a:ext cx="5523517" cy="25660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  <a:buFont typeface="Arial" panose="020B0604020202020204" pitchFamily="34" charset="0"/>
              <a:buChar char="•"/>
            </a:pPr>
            <a:r>
              <a:rPr lang="cs-CZ" sz="1800" dirty="0"/>
              <a:t>Stanovení dle stupně požární bezpečnosti PÚ</a:t>
            </a:r>
          </a:p>
          <a:p>
            <a:pPr marL="285750" indent="-285750"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  <a:buFont typeface="Arial" panose="020B0604020202020204" pitchFamily="34" charset="0"/>
              <a:buChar char="•"/>
            </a:pPr>
            <a:r>
              <a:rPr lang="cs-CZ" sz="1800" dirty="0"/>
              <a:t>PO shodná s požární odolností požárně dělící konstrukce (v ČR max. EI 60)</a:t>
            </a:r>
          </a:p>
          <a:p>
            <a:pPr marL="285750" indent="-285750"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  <a:buFont typeface="Arial" panose="020B0604020202020204" pitchFamily="34" charset="0"/>
              <a:buChar char="•"/>
            </a:pPr>
            <a:r>
              <a:rPr lang="cs-CZ" sz="1800" dirty="0"/>
              <a:t>Požadavky stanovené dle ČSN/STN 73 0802 a ČSN/STN 73 0804</a:t>
            </a:r>
          </a:p>
          <a:p>
            <a:pPr marL="285750" indent="-285750"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  <a:buFont typeface="Arial" panose="020B0604020202020204" pitchFamily="34" charset="0"/>
              <a:buChar char="•"/>
            </a:pPr>
            <a:endParaRPr lang="cs-CZ" sz="1800" dirty="0"/>
          </a:p>
          <a:p>
            <a:pPr marL="285750" indent="-285750"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  <a:buFont typeface="Arial" panose="020B0604020202020204" pitchFamily="34" charset="0"/>
              <a:buChar char="•"/>
            </a:pPr>
            <a:endParaRPr lang="en-US" sz="1800" dirty="0" err="1"/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44BE210F-4BCF-9F48-42AC-87E279FF70DB}"/>
              </a:ext>
            </a:extLst>
          </p:cNvPr>
          <p:cNvSpPr txBox="1"/>
          <p:nvPr/>
        </p:nvSpPr>
        <p:spPr>
          <a:xfrm>
            <a:off x="6289643" y="1924922"/>
            <a:ext cx="5523517" cy="25660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  <a:buFont typeface="Arial" panose="020B0604020202020204" pitchFamily="34" charset="0"/>
              <a:buChar char="•"/>
            </a:pPr>
            <a:r>
              <a:rPr lang="cs-CZ" sz="1800" dirty="0"/>
              <a:t>Stanovení dle stupně požární bezpečnosti PÚ</a:t>
            </a:r>
          </a:p>
          <a:p>
            <a:pPr marL="285750" indent="-285750"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  <a:buFont typeface="Arial" panose="020B0604020202020204" pitchFamily="34" charset="0"/>
              <a:buChar char="•"/>
            </a:pPr>
            <a:r>
              <a:rPr lang="cs-CZ" sz="1800" dirty="0"/>
              <a:t>Požadavky stanovené dle ČSN/STN 73 0872</a:t>
            </a:r>
          </a:p>
          <a:p>
            <a:pPr marL="285750" indent="-285750"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  <a:buFont typeface="Arial" panose="020B0604020202020204" pitchFamily="34" charset="0"/>
              <a:buChar char="•"/>
            </a:pPr>
            <a:r>
              <a:rPr lang="cs-CZ" sz="1800" dirty="0"/>
              <a:t>Těsnění kolem prostupu (s klapkou i bez klapky) se řídí dle požadované požární odolnosti chráněného VZT potrubí, resp. požární klapky</a:t>
            </a:r>
          </a:p>
          <a:p>
            <a:pPr marL="285750" indent="-285750"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  <a:buFont typeface="Arial" panose="020B0604020202020204" pitchFamily="34" charset="0"/>
              <a:buChar char="•"/>
            </a:pPr>
            <a:endParaRPr lang="cs-CZ" sz="1800" dirty="0"/>
          </a:p>
          <a:p>
            <a:pPr marL="285750" indent="-285750"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  <a:buFont typeface="Arial" panose="020B0604020202020204" pitchFamily="34" charset="0"/>
              <a:buChar char="•"/>
            </a:pPr>
            <a:endParaRPr lang="en-US" sz="1800" dirty="0" err="1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CE3C2205-689F-5A36-DF98-62438DB48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4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429664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AE471AE-1FC6-561F-2099-9572882E53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165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E471AE-1FC6-561F-2099-9572882E53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03F1D862-C982-2891-DA78-0A3B7BF3F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Konference Červený kohout | Duben 2024</a:t>
            </a:r>
            <a:endParaRPr lang="en-US" noProof="0" dirty="0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E5F22F6C-CE47-7734-1453-950C7D2356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Chování VZT potrubí za požární situace</a:t>
            </a: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4EE0A102-D25F-3A49-D2FD-FAE13221D67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839" y="2132856"/>
            <a:ext cx="3995936" cy="2996952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426ADE14-1C72-B6C4-558B-755A9EA2A92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997458" y="2153411"/>
            <a:ext cx="4197085" cy="3147814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2984F882-1B24-1F25-41F9-6EB9731F9E8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20"/>
          <a:stretch/>
        </p:blipFill>
        <p:spPr>
          <a:xfrm rot="5400000">
            <a:off x="7781962" y="2045051"/>
            <a:ext cx="4417601" cy="3586499"/>
          </a:xfrm>
          <a:prstGeom prst="rect">
            <a:avLst/>
          </a:prstGeom>
        </p:spPr>
      </p:pic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D5DA798B-D838-6F38-91EF-DE23CCA731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5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369241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B68D19D-1108-4390-98B5-B7D83555EB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2508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68D19D-1108-4390-98B5-B7D83555E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97CDAC4-D4B9-C8E4-1A65-662BE28D5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Víme co znamenají všechny údaje v rámci požární odolnosti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96BFE81-425C-8441-A023-4D9A321E6C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09561" y="1628775"/>
            <a:ext cx="2159621" cy="4392613"/>
          </a:xfrm>
        </p:spPr>
        <p:txBody>
          <a:bodyPr anchor="ctr"/>
          <a:lstStyle/>
          <a:p>
            <a:pPr marL="0" indent="0" algn="ctr">
              <a:buNone/>
            </a:pPr>
            <a:r>
              <a:rPr lang="cs-CZ" sz="16600" b="1" dirty="0"/>
              <a:t>EI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FFDDC8B-4F41-904B-48A0-5CE07BFF51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23" name="Zástupný obsah 2">
            <a:extLst>
              <a:ext uri="{FF2B5EF4-FFF2-40B4-BE49-F238E27FC236}">
                <a16:creationId xmlns:a16="http://schemas.microsoft.com/office/drawing/2014/main" id="{6D9F762F-2BF8-EF55-A25D-8B1348C60E0A}"/>
              </a:ext>
            </a:extLst>
          </p:cNvPr>
          <p:cNvSpPr txBox="1">
            <a:spLocks/>
          </p:cNvSpPr>
          <p:nvPr/>
        </p:nvSpPr>
        <p:spPr bwMode="gray">
          <a:xfrm>
            <a:off x="3813198" y="1628775"/>
            <a:ext cx="2808312" cy="439261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66700" indent="-266700" algn="l" defTabSz="1219170" rtl="0" eaLnBrk="1" latinLnBrk="0" hangingPunct="1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3600" indent="-266400" algn="l" defTabSz="1219170" rtl="0" eaLnBrk="1" latinLnBrk="0" hangingPunct="1">
              <a:lnSpc>
                <a:spcPct val="107000"/>
              </a:lnSpc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66400" algn="l" defTabSz="1219170" rtl="0" eaLnBrk="1" latinLnBrk="0" hangingPunct="1"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00" indent="-266700" algn="l" defTabSz="1219170" rtl="0" eaLnBrk="1" latinLnBrk="0" hangingPunct="1"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66700" algn="l" defTabSz="1219170" rtl="0" eaLnBrk="1" latinLnBrk="0" hangingPunct="1"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cs-CZ" sz="16600" b="1" dirty="0"/>
              <a:t>60</a:t>
            </a:r>
          </a:p>
        </p:txBody>
      </p:sp>
      <p:sp>
        <p:nvSpPr>
          <p:cNvPr id="24" name="Zástupný obsah 2">
            <a:extLst>
              <a:ext uri="{FF2B5EF4-FFF2-40B4-BE49-F238E27FC236}">
                <a16:creationId xmlns:a16="http://schemas.microsoft.com/office/drawing/2014/main" id="{46268780-1ED5-A1CA-ECA0-3CA337A03E68}"/>
              </a:ext>
            </a:extLst>
          </p:cNvPr>
          <p:cNvSpPr txBox="1">
            <a:spLocks/>
          </p:cNvSpPr>
          <p:nvPr/>
        </p:nvSpPr>
        <p:spPr bwMode="gray">
          <a:xfrm>
            <a:off x="6600056" y="1628775"/>
            <a:ext cx="3981894" cy="439261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66700" indent="-266700" algn="l" defTabSz="1219170" rtl="0" eaLnBrk="1" latinLnBrk="0" hangingPunct="1">
              <a:lnSpc>
                <a:spcPct val="107000"/>
              </a:lnSpc>
              <a:spcBef>
                <a:spcPts val="10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3600" indent="-266400" algn="l" defTabSz="1219170" rtl="0" eaLnBrk="1" latinLnBrk="0" hangingPunct="1">
              <a:lnSpc>
                <a:spcPct val="107000"/>
              </a:lnSpc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–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66400" algn="l" defTabSz="1219170" rtl="0" eaLnBrk="1" latinLnBrk="0" hangingPunct="1"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400" indent="-266700" algn="l" defTabSz="1219170" rtl="0" eaLnBrk="1" latinLnBrk="0" hangingPunct="1"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66700" algn="l" defTabSz="1219170" rtl="0" eaLnBrk="1" latinLnBrk="0" hangingPunct="1">
              <a:spcBef>
                <a:spcPts val="6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266400" algn="l" defTabSz="1219170" rtl="0" eaLnBrk="1" latinLnBrk="0" hangingPunct="1">
              <a:spcBef>
                <a:spcPct val="20000"/>
              </a:spcBef>
              <a:buClr>
                <a:srgbClr val="A19DA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cs-CZ" sz="16600" b="1" dirty="0"/>
              <a:t>U/U</a:t>
            </a:r>
          </a:p>
        </p:txBody>
      </p:sp>
      <p:sp>
        <p:nvSpPr>
          <p:cNvPr id="25" name="Zástupný symbol pro číslo snímku 24">
            <a:extLst>
              <a:ext uri="{FF2B5EF4-FFF2-40B4-BE49-F238E27FC236}">
                <a16:creationId xmlns:a16="http://schemas.microsoft.com/office/drawing/2014/main" id="{0823DA01-E7EB-C92A-9B73-3592E7F0AA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6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710536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1204EB5-B7B4-27A9-B680-CC1885DBFB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204EB5-B7B4-27A9-B680-CC1885DBF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0623986E-8E74-49A9-8762-54A0BBAD9444}"/>
              </a:ext>
            </a:extLst>
          </p:cNvPr>
          <p:cNvGrpSpPr/>
          <p:nvPr/>
        </p:nvGrpSpPr>
        <p:grpSpPr>
          <a:xfrm>
            <a:off x="389955" y="1431609"/>
            <a:ext cx="5891278" cy="4793229"/>
            <a:chOff x="571730" y="1593829"/>
            <a:chExt cx="5891278" cy="4793229"/>
          </a:xfrm>
        </p:grpSpPr>
        <p:pic>
          <p:nvPicPr>
            <p:cNvPr id="24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1730" y="1593829"/>
              <a:ext cx="5891278" cy="20830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8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4840" y="3807244"/>
              <a:ext cx="3773922" cy="25798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8" name="Title 27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Prostupy potrubí a konfigurace konců potrubí</a:t>
            </a:r>
            <a:endParaRPr lang="en-US" dirty="0"/>
          </a:p>
        </p:txBody>
      </p:sp>
      <p:sp>
        <p:nvSpPr>
          <p:cNvPr id="30" name="Slide Number Placeholder 2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7</a:t>
            </a:fld>
            <a:endParaRPr lang="en-US" noProof="0" dirty="0"/>
          </a:p>
        </p:txBody>
      </p:sp>
      <p:sp>
        <p:nvSpPr>
          <p:cNvPr id="15" name="Footer Placeholder 10">
            <a:extLst>
              <a:ext uri="{FF2B5EF4-FFF2-40B4-BE49-F238E27FC236}">
                <a16:creationId xmlns:a16="http://schemas.microsoft.com/office/drawing/2014/main" id="{7B319804-819F-4E4D-A04F-146FF9D50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3065" y="6469556"/>
            <a:ext cx="9017451" cy="187694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ference Červený kohout | Duben 2024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349192A1-9EF3-5EB4-EE20-9861FDC36FF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48198" y="2430304"/>
            <a:ext cx="5562135" cy="242943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7712108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628995E-9DFC-C1BD-FC86-D276CA0738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28995E-9DFC-C1BD-FC86-D276CA0738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15D7440D-4A8C-4EC9-32CA-25AF845D3E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Reálný rozdíl v požární odolnosti mezi U/U a U/C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D37C0D62-4D31-374A-94F8-F486D48288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Konference Červený kohout | Duben 2024</a:t>
            </a:r>
            <a:endParaRPr lang="en-US" noProof="0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1798BFC8-C6D9-5BD9-20AA-E31B04964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178FD-43BF-4968-A299-3450DC0CDF97}" type="slidenum">
              <a:rPr lang="en-US" noProof="0" smtClean="0"/>
              <a:t>8</a:t>
            </a:fld>
            <a:endParaRPr lang="en-US" noProof="0" dirty="0"/>
          </a:p>
        </p:txBody>
      </p:sp>
      <p:pic>
        <p:nvPicPr>
          <p:cNvPr id="15" name="Obrázek 14">
            <a:extLst>
              <a:ext uri="{FF2B5EF4-FFF2-40B4-BE49-F238E27FC236}">
                <a16:creationId xmlns:a16="http://schemas.microsoft.com/office/drawing/2014/main" id="{BED50489-46C2-C43F-7792-DDD5132097D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75134" y="1577058"/>
            <a:ext cx="5346701" cy="4010026"/>
          </a:xfrm>
          <a:prstGeom prst="rect">
            <a:avLst/>
          </a:prstGeom>
        </p:spPr>
      </p:pic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B144F97E-B81C-D6BA-016A-01E01C1EBB9A}"/>
              </a:ext>
            </a:extLst>
          </p:cNvPr>
          <p:cNvCxnSpPr>
            <a:cxnSpLocks/>
          </p:cNvCxnSpPr>
          <p:nvPr/>
        </p:nvCxnSpPr>
        <p:spPr>
          <a:xfrm flipV="1">
            <a:off x="4799856" y="2160512"/>
            <a:ext cx="1368152" cy="332384"/>
          </a:xfrm>
          <a:prstGeom prst="straightConnector1">
            <a:avLst/>
          </a:prstGeom>
          <a:ln w="349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A938DC46-1FA7-9309-65FE-3A4139E414BA}"/>
              </a:ext>
            </a:extLst>
          </p:cNvPr>
          <p:cNvSpPr txBox="1"/>
          <p:nvPr/>
        </p:nvSpPr>
        <p:spPr>
          <a:xfrm>
            <a:off x="6288981" y="2023070"/>
            <a:ext cx="2664296" cy="274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cs-CZ" sz="1800" dirty="0"/>
              <a:t>Konfigurace U/U</a:t>
            </a:r>
          </a:p>
        </p:txBody>
      </p:sp>
      <p:cxnSp>
        <p:nvCxnSpPr>
          <p:cNvPr id="19" name="Přímá spojnice se šipkou 18">
            <a:extLst>
              <a:ext uri="{FF2B5EF4-FFF2-40B4-BE49-F238E27FC236}">
                <a16:creationId xmlns:a16="http://schemas.microsoft.com/office/drawing/2014/main" id="{47333CF7-72FD-ECE8-3419-19E80F1D9DB9}"/>
              </a:ext>
            </a:extLst>
          </p:cNvPr>
          <p:cNvCxnSpPr>
            <a:cxnSpLocks/>
          </p:cNvCxnSpPr>
          <p:nvPr/>
        </p:nvCxnSpPr>
        <p:spPr>
          <a:xfrm flipV="1">
            <a:off x="5110312" y="4740209"/>
            <a:ext cx="1201712" cy="243471"/>
          </a:xfrm>
          <a:prstGeom prst="straightConnector1">
            <a:avLst/>
          </a:prstGeom>
          <a:ln w="349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5F87F0AD-DA75-137E-D44A-BDFEFB6F8587}"/>
              </a:ext>
            </a:extLst>
          </p:cNvPr>
          <p:cNvSpPr txBox="1"/>
          <p:nvPr/>
        </p:nvSpPr>
        <p:spPr>
          <a:xfrm>
            <a:off x="6384032" y="4602767"/>
            <a:ext cx="2664296" cy="274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7000"/>
              </a:lnSpc>
              <a:spcBef>
                <a:spcPts val="1000"/>
              </a:spcBef>
              <a:buClr>
                <a:srgbClr val="A19DA2"/>
              </a:buClr>
            </a:pPr>
            <a:r>
              <a:rPr lang="cs-CZ" sz="1800" dirty="0"/>
              <a:t>Konfigurace U/C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FA5810B-33A0-DAC6-5CD8-A06AC21840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059"/>
          <a:stretch/>
        </p:blipFill>
        <p:spPr bwMode="auto">
          <a:xfrm>
            <a:off x="8337668" y="1508111"/>
            <a:ext cx="3157865" cy="4267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feld 12">
            <a:extLst>
              <a:ext uri="{FF2B5EF4-FFF2-40B4-BE49-F238E27FC236}">
                <a16:creationId xmlns:a16="http://schemas.microsoft.com/office/drawing/2014/main" id="{524C80ED-296B-1A35-428E-C65695DCCE6E}"/>
              </a:ext>
            </a:extLst>
          </p:cNvPr>
          <p:cNvSpPr txBox="1"/>
          <p:nvPr/>
        </p:nvSpPr>
        <p:spPr>
          <a:xfrm>
            <a:off x="9297393" y="2160512"/>
            <a:ext cx="1443789" cy="35306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40" tIns="45720" rIns="91440" bIns="4572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600" dirty="0" err="1"/>
              <a:t>Wrap</a:t>
            </a:r>
            <a:r>
              <a:rPr lang="de-CH" sz="1600" dirty="0"/>
              <a:t> </a:t>
            </a:r>
            <a:r>
              <a:rPr lang="de-CH" sz="1600" dirty="0" err="1"/>
              <a:t>closes</a:t>
            </a:r>
            <a:r>
              <a:rPr lang="de-CH" sz="1600" dirty="0"/>
              <a:t>.</a:t>
            </a:r>
            <a:endParaRPr lang="en-US" sz="1600" dirty="0" err="1"/>
          </a:p>
        </p:txBody>
      </p:sp>
    </p:spTree>
    <p:extLst>
      <p:ext uri="{BB962C8B-B14F-4D97-AF65-F5344CB8AC3E}">
        <p14:creationId xmlns:p14="http://schemas.microsoft.com/office/powerpoint/2010/main" val="32612146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3D18E72-C897-B70D-4A9B-A46A650FA8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001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D18E72-C897-B70D-4A9B-A46A650FA8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7A1FE76F-0F38-41CA-A05B-2F9443C7CF2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cs-CZ" dirty="0"/>
              <a:t>Děkujeme za pozornost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DD9F0A9-951A-4E70-9F0F-B1737258500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17609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HILTI MASTER 16:9" val="FWMHnNQN"/>
  <p:tag name="ARTICULATE_SLIDE_THUMBNAIL_REFRESH" val="1"/>
  <p:tag name="ARTICULATE_SLIDE_COUNT" val="282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bXRHuMoUug3k7dRqAuX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8CZgmUwqkONcIljgvngQ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bXRHuMoUug3k7dRqAuX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8CZgmUwqkONcIljgvngQ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1091"/>
  <p:tag name="ARTICULATE_NAV_LEVEL" val="1"/>
  <p:tag name="ARTICULATE_SLIDE_PRESENTER_GUID" val="48494787-b470-4ebc-9605-d00fac54878f"/>
  <p:tag name="ARTICULATE_SLIDE_PAUSE" val="0"/>
  <p:tag name="ARTICULATE_LOCK_SLIDE" val="0"/>
  <p:tag name="ARTICULATE_HIDE_SLIDE" val="0"/>
  <p:tag name="ARTICULATE_PLAYER_CONTROL_PREVIOUS" val="True"/>
  <p:tag name="ARTICULATE_PLAYER_CONTROL_NEXT" val="True"/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HILTI Master 16:9">
  <a:themeElements>
    <a:clrScheme name="Hilti">
      <a:dk1>
        <a:sysClr val="windowText" lastClr="000000"/>
      </a:dk1>
      <a:lt1>
        <a:sysClr val="window" lastClr="FFFFFF"/>
      </a:lt1>
      <a:dk2>
        <a:srgbClr val="887F6E"/>
      </a:dk2>
      <a:lt2>
        <a:srgbClr val="D7CEBD"/>
      </a:lt2>
      <a:accent1>
        <a:srgbClr val="D2051E"/>
      </a:accent1>
      <a:accent2>
        <a:srgbClr val="D7CEBD"/>
      </a:accent2>
      <a:accent3>
        <a:srgbClr val="887F6E"/>
      </a:accent3>
      <a:accent4>
        <a:srgbClr val="524F53"/>
      </a:accent4>
      <a:accent5>
        <a:srgbClr val="A19DA2"/>
      </a:accent5>
      <a:accent6>
        <a:srgbClr val="E6E0D5"/>
      </a:accent6>
      <a:hlink>
        <a:srgbClr val="000000"/>
      </a:hlink>
      <a:folHlink>
        <a:srgbClr val="000000"/>
      </a:folHlink>
    </a:clrScheme>
    <a:fontScheme name="Hilt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6350">
          <a:solidFill>
            <a:schemeClr val="bg2"/>
          </a:solidFill>
        </a:ln>
      </a:spPr>
      <a:bodyPr rtlCol="0" anchor="ctr"/>
      <a:lstStyle>
        <a:defPPr algn="ctr">
          <a:defRPr sz="18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66700" indent="-266700" algn="l">
          <a:lnSpc>
            <a:spcPct val="107000"/>
          </a:lnSpc>
          <a:spcBef>
            <a:spcPts val="1000"/>
          </a:spcBef>
          <a:buClr>
            <a:srgbClr val="A19DA2"/>
          </a:buClr>
          <a:buFont typeface="Arial" panose="020B0604020202020204" pitchFamily="34" charset="0"/>
          <a:buChar char="•"/>
          <a:defRPr sz="1800" dirty="0" err="1" smtClean="0"/>
        </a:defPPr>
      </a:lstStyle>
    </a:txDef>
  </a:objectDefaults>
  <a:extraClrSchemeLst/>
  <a:custClrLst>
    <a:custClr name="Warm Concrete D3">
      <a:srgbClr val="756547"/>
    </a:custClr>
    <a:custClr name="Steel D1">
      <a:srgbClr val="343235"/>
    </a:custClr>
    <a:custClr name="Heavy Concrete D2">
      <a:srgbClr val="514631"/>
    </a:custClr>
    <a:custClr name="Sand D1">
      <a:srgbClr val="8F6413"/>
    </a:custClr>
    <a:custClr name="Wood D1">
      <a:srgbClr val="5E2E10"/>
    </a:custClr>
    <a:custClr name="Scaffold  D1">
      <a:srgbClr val="0B3B00"/>
    </a:custClr>
    <a:custClr name="Gravel  D1">
      <a:srgbClr val="2C3C5A"/>
    </a:custClr>
    <a:custClr name="Brick  D1">
      <a:srgbClr val="933225"/>
    </a:custClr>
    <a:custClr name="#">
      <a:srgbClr val="FFFFFF"/>
    </a:custClr>
    <a:custClr name="Signalling Red">
      <a:srgbClr val="FF0000"/>
    </a:custClr>
    <a:custClr name="Warm Concrete D2">
      <a:srgbClr val="9A855D"/>
    </a:custClr>
    <a:custClr name="Steel">
      <a:srgbClr val="524F53"/>
    </a:custClr>
    <a:custClr name="Heavy Concrete D1">
      <a:srgbClr val="676154"/>
    </a:custClr>
    <a:custClr name="Sand">
      <a:srgbClr val="C3881A"/>
    </a:custClr>
    <a:custClr name="Wood">
      <a:srgbClr val="7C4C2E"/>
    </a:custClr>
    <a:custClr name="Scaffold">
      <a:srgbClr val="00804A"/>
    </a:custClr>
    <a:custClr name="Gravel">
      <a:srgbClr val="4D6389"/>
    </a:custClr>
    <a:custClr name="Brick">
      <a:srgbClr val="C45E33"/>
    </a:custClr>
    <a:custClr name="#">
      <a:srgbClr val="FFFFFF"/>
    </a:custClr>
    <a:custClr name="Signalling Yellow">
      <a:srgbClr val="FFAF00"/>
    </a:custClr>
    <a:custClr name="Warm Concrete D1">
      <a:srgbClr val="B9AA8C"/>
    </a:custClr>
    <a:custClr name="Steel L1">
      <a:srgbClr val="7A757B"/>
    </a:custClr>
    <a:custClr name="Heavy Concrete">
      <a:srgbClr val="887F6E"/>
    </a:custClr>
    <a:custClr name="Sand L1">
      <a:srgbClr val="E6AE45"/>
    </a:custClr>
    <a:custClr name="Wood L1">
      <a:srgbClr val="B8886A"/>
    </a:custClr>
    <a:custClr name="Scaffold L1">
      <a:srgbClr val="00B67B"/>
    </a:custClr>
    <a:custClr name="Gravel L1">
      <a:srgbClr val="6E88A7"/>
    </a:custClr>
    <a:custClr name="Brick L1">
      <a:srgbClr val="F17B52"/>
    </a:custClr>
    <a:custClr name="#">
      <a:srgbClr val="FFFFFF"/>
    </a:custClr>
    <a:custClr name="Signalling Green">
      <a:srgbClr val="19AF37"/>
    </a:custClr>
    <a:custClr name="Warm Concrete">
      <a:srgbClr val="D7CEBD"/>
    </a:custClr>
    <a:custClr name="Steel L2">
      <a:srgbClr val="A19DA2"/>
    </a:custClr>
    <a:custClr name="Heavy Concrete L1">
      <a:srgbClr val="B7B3AA"/>
    </a:custClr>
    <a:custClr name="Sand L2">
      <a:srgbClr val="EDC579"/>
    </a:custClr>
    <a:custClr name="Wood L2">
      <a:srgbClr val="D6A688"/>
    </a:custClr>
    <a:custClr name="Scaffold L2">
      <a:srgbClr val="83D4A5"/>
    </a:custClr>
    <a:custClr name="Gravel L2">
      <a:srgbClr val="8A9FC4"/>
    </a:custClr>
    <a:custClr name="Brick L2">
      <a:srgbClr val="FFAE8F"/>
    </a:custClr>
    <a:custClr name="#">
      <a:srgbClr val="FFFFFF"/>
    </a:custClr>
    <a:custClr name="#">
      <a:srgbClr val="FFFFFF"/>
    </a:custClr>
    <a:custClr name="Warm Concrete L1">
      <a:srgbClr val="E6E0D5"/>
    </a:custClr>
    <a:custClr name="Steel L3">
      <a:srgbClr val="C7C5C8"/>
    </a:custClr>
    <a:custClr name="Heavy Concrete L2">
      <a:srgbClr val="DBD8D3"/>
    </a:custClr>
    <a:custClr name="Sand L3">
      <a:srgbClr val="F4DBAD"/>
    </a:custClr>
    <a:custClr name="Wood L3">
      <a:srgbClr val="E0C1AE"/>
    </a:custClr>
    <a:custClr name="Scaffold L3">
      <a:srgbClr val="ACD8BF"/>
    </a:custClr>
    <a:custClr name="Gravel L3">
      <a:srgbClr val="C6D5E9"/>
    </a:custClr>
    <a:custClr name="Brick L3">
      <a:srgbClr val="FFCFB6"/>
    </a:custClr>
    <a:custClr name="#">
      <a:srgbClr val="FFFFFF"/>
    </a:custClr>
    <a:custClr name="Burgundy">
      <a:srgbClr val="671C3E"/>
    </a:custClr>
  </a:custClrLst>
  <a:extLst>
    <a:ext uri="{05A4C25C-085E-4340-85A3-A5531E510DB2}">
      <thm15:themeFamily xmlns:thm15="http://schemas.microsoft.com/office/thememl/2012/main" name="blank.potx" id="{EA683A5F-A8B7-442B-A3AA-90462CC56DC1}" vid="{0A2328C8-1DCA-433C-9DDC-0A9F954C3ABD}"/>
    </a:ext>
  </a:extLst>
</a:theme>
</file>

<file path=ppt/theme/theme2.xml><?xml version="1.0" encoding="utf-8"?>
<a:theme xmlns:a="http://schemas.openxmlformats.org/drawingml/2006/main" name="Larissa">
  <a:themeElements>
    <a:clrScheme name="Hilti">
      <a:dk1>
        <a:sysClr val="windowText" lastClr="000000"/>
      </a:dk1>
      <a:lt1>
        <a:sysClr val="window" lastClr="FFFFFF"/>
      </a:lt1>
      <a:dk2>
        <a:srgbClr val="887F6E"/>
      </a:dk2>
      <a:lt2>
        <a:srgbClr val="D7CEBD"/>
      </a:lt2>
      <a:accent1>
        <a:srgbClr val="D2051E"/>
      </a:accent1>
      <a:accent2>
        <a:srgbClr val="D7CEBD"/>
      </a:accent2>
      <a:accent3>
        <a:srgbClr val="887F6E"/>
      </a:accent3>
      <a:accent4>
        <a:srgbClr val="524F53"/>
      </a:accent4>
      <a:accent5>
        <a:srgbClr val="A19DA2"/>
      </a:accent5>
      <a:accent6>
        <a:srgbClr val="E6E0D5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Hilti">
      <a:dk1>
        <a:sysClr val="windowText" lastClr="000000"/>
      </a:dk1>
      <a:lt1>
        <a:sysClr val="window" lastClr="FFFFFF"/>
      </a:lt1>
      <a:dk2>
        <a:srgbClr val="887F6E"/>
      </a:dk2>
      <a:lt2>
        <a:srgbClr val="D7CEBD"/>
      </a:lt2>
      <a:accent1>
        <a:srgbClr val="D2051E"/>
      </a:accent1>
      <a:accent2>
        <a:srgbClr val="D7CEBD"/>
      </a:accent2>
      <a:accent3>
        <a:srgbClr val="887F6E"/>
      </a:accent3>
      <a:accent4>
        <a:srgbClr val="524F53"/>
      </a:accent4>
      <a:accent5>
        <a:srgbClr val="A19DA2"/>
      </a:accent5>
      <a:accent6>
        <a:srgbClr val="E6E0D5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A106D1FE8EC3349B29C60FED3B40AB4" ma:contentTypeVersion="13" ma:contentTypeDescription="Create a new document." ma:contentTypeScope="" ma:versionID="dc09172c3abbebc777cd7af127971f54">
  <xsd:schema xmlns:xsd="http://www.w3.org/2001/XMLSchema" xmlns:xs="http://www.w3.org/2001/XMLSchema" xmlns:p="http://schemas.microsoft.com/office/2006/metadata/properties" xmlns:ns3="e2dff95b-e73d-4ce0-a7f0-8049ebcc36a6" xmlns:ns4="4a51ead0-d78b-46f7-b15e-6587836192d2" targetNamespace="http://schemas.microsoft.com/office/2006/metadata/properties" ma:root="true" ma:fieldsID="716024365cd6bfa50fd0f820159c888b" ns3:_="" ns4:_="">
    <xsd:import namespace="e2dff95b-e73d-4ce0-a7f0-8049ebcc36a6"/>
    <xsd:import namespace="4a51ead0-d78b-46f7-b15e-6587836192d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dff95b-e73d-4ce0-a7f0-8049ebcc36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51ead0-d78b-46f7-b15e-6587836192d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C99C40A-8239-4BDD-8582-E8AE84A578A2}">
  <ds:schemaRefs>
    <ds:schemaRef ds:uri="http://purl.org/dc/terms/"/>
    <ds:schemaRef ds:uri="http://schemas.openxmlformats.org/package/2006/metadata/core-properties"/>
    <ds:schemaRef ds:uri="e2dff95b-e73d-4ce0-a7f0-8049ebcc36a6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4a51ead0-d78b-46f7-b15e-6587836192d2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481C50D-9FCF-4A99-A871-2809BD9F89A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032C2F1-97C7-4299-AF0F-5E5A07DECE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2dff95b-e73d-4ce0-a7f0-8049ebcc36a6"/>
    <ds:schemaRef ds:uri="4a51ead0-d78b-46f7-b15e-6587836192d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293</TotalTime>
  <Words>312</Words>
  <Application>Microsoft Office PowerPoint</Application>
  <PresentationFormat>Širokoúhlá obrazovka</PresentationFormat>
  <Paragraphs>64</Paragraphs>
  <Slides>9</Slides>
  <Notes>4</Notes>
  <HiddenSlides>0</HiddenSlides>
  <MMClips>0</MMClips>
  <ScaleCrop>false</ScaleCrop>
  <HeadingPairs>
    <vt:vector size="8" baseType="variant">
      <vt:variant>
        <vt:lpstr>Použitá písma</vt:lpstr>
      </vt:variant>
      <vt:variant>
        <vt:i4>2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9</vt:i4>
      </vt:variant>
    </vt:vector>
  </HeadingPairs>
  <TitlesOfParts>
    <vt:vector size="13" baseType="lpstr">
      <vt:lpstr>Arial</vt:lpstr>
      <vt:lpstr>Symbol</vt:lpstr>
      <vt:lpstr>HILTI Master 16:9</vt:lpstr>
      <vt:lpstr>think-cell Slide</vt:lpstr>
      <vt:lpstr>Červený kohout 2024</vt:lpstr>
      <vt:lpstr>Je tento prostup vyhotovený správně?</vt:lpstr>
      <vt:lpstr>Prostupy provozních instalací a VZT v kontextu zkoušení požární odolnosti</vt:lpstr>
      <vt:lpstr>Stanovení požadované požární odolnosti v závislosti na systému těsnění</vt:lpstr>
      <vt:lpstr>Chování VZT potrubí za požární situace</vt:lpstr>
      <vt:lpstr>Víme co znamenají všechny údaje v rámci požární odolnosti</vt:lpstr>
      <vt:lpstr>Prostupy potrubí a konfigurace konců potrubí</vt:lpstr>
      <vt:lpstr>Reálný rozdíl v požární odolnosti mezi U/U a U/C</vt:lpstr>
      <vt:lpstr>Děkujeme za pozorno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S Trade days EE-EU</dc:title>
  <dc:subject/>
  <dc:creator>Havel, Ales</dc:creator>
  <cp:lastModifiedBy>Havel, Ales</cp:lastModifiedBy>
  <cp:revision>8</cp:revision>
  <cp:lastPrinted>2016-11-23T08:25:33Z</cp:lastPrinted>
  <dcterms:created xsi:type="dcterms:W3CDTF">2022-10-24T20:47:47Z</dcterms:created>
  <dcterms:modified xsi:type="dcterms:W3CDTF">2024-03-26T09:23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5179B872-091F-42C5-B139-2BFD0761602D</vt:lpwstr>
  </property>
  <property fmtid="{D5CDD505-2E9C-101B-9397-08002B2CF9AE}" pid="3" name="ArticulatePath">
    <vt:lpwstr>https://hilti-my.sharepoint.com/personal/tschirk_hilti_com/Documents/Desktop/Hilti_StyleGuide_PowerPoint_Sept2018</vt:lpwstr>
  </property>
  <property fmtid="{D5CDD505-2E9C-101B-9397-08002B2CF9AE}" pid="4" name="ContentTypeId">
    <vt:lpwstr>0x0101000A106D1FE8EC3349B29C60FED3B40AB4</vt:lpwstr>
  </property>
</Properties>
</file>